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4"/>
  </p:sldMasterIdLst>
  <p:notesMasterIdLst>
    <p:notesMasterId r:id="rId14"/>
  </p:notesMasterIdLst>
  <p:handoutMasterIdLst>
    <p:handoutMasterId r:id="rId15"/>
  </p:handoutMasterIdLst>
  <p:sldIdLst>
    <p:sldId id="256" r:id="rId5"/>
    <p:sldId id="2106" r:id="rId6"/>
    <p:sldId id="272" r:id="rId7"/>
    <p:sldId id="2113" r:id="rId8"/>
    <p:sldId id="2091" r:id="rId9"/>
    <p:sldId id="2116" r:id="rId10"/>
    <p:sldId id="2123" r:id="rId11"/>
    <p:sldId id="701" r:id="rId12"/>
    <p:sldId id="2126986425" r:id="rId13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C65A"/>
    <a:srgbClr val="FFE2C4"/>
    <a:srgbClr val="F4F4F4"/>
    <a:srgbClr val="DA291C"/>
    <a:srgbClr val="959CA0"/>
    <a:srgbClr val="FE8A12"/>
    <a:srgbClr val="FEC488"/>
    <a:srgbClr val="7FD1EF"/>
    <a:srgbClr val="A1D794"/>
    <a:srgbClr val="72C4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88FD1A-DC87-4FCC-800D-393BD42B1E09}" v="77" dt="2020-12-03T16:18:58.5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04" autoAdjust="0"/>
    <p:restoredTop sz="93011" autoAdjust="0"/>
  </p:normalViewPr>
  <p:slideViewPr>
    <p:cSldViewPr snapToGrid="0">
      <p:cViewPr varScale="1">
        <p:scale>
          <a:sx n="60" d="100"/>
          <a:sy n="60" d="100"/>
        </p:scale>
        <p:origin x="28" y="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0"/>
    </p:cViewPr>
  </p:sorterViewPr>
  <p:notesViewPr>
    <p:cSldViewPr snapToGrid="0">
      <p:cViewPr>
        <p:scale>
          <a:sx n="90" d="100"/>
          <a:sy n="90" d="100"/>
        </p:scale>
        <p:origin x="2742" y="-43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ipathy, Anita" userId="5d1ae7a5-c18d-413b-a5b5-4bb892e1411b" providerId="ADAL" clId="{B288FD1A-DC87-4FCC-800D-393BD42B1E09}"/>
    <pc:docChg chg="undo custSel addSld delSld modSld sldOrd">
      <pc:chgData name="Tripathy, Anita" userId="5d1ae7a5-c18d-413b-a5b5-4bb892e1411b" providerId="ADAL" clId="{B288FD1A-DC87-4FCC-800D-393BD42B1E09}" dt="2020-12-03T16:19:00.667" v="1263" actId="2696"/>
      <pc:docMkLst>
        <pc:docMk/>
      </pc:docMkLst>
      <pc:sldChg chg="modSp">
        <pc:chgData name="Tripathy, Anita" userId="5d1ae7a5-c18d-413b-a5b5-4bb892e1411b" providerId="ADAL" clId="{B288FD1A-DC87-4FCC-800D-393BD42B1E09}" dt="2020-11-23T11:19:41.231" v="81" actId="6549"/>
        <pc:sldMkLst>
          <pc:docMk/>
          <pc:sldMk cId="2136439337" sldId="256"/>
        </pc:sldMkLst>
        <pc:spChg chg="mod">
          <ac:chgData name="Tripathy, Anita" userId="5d1ae7a5-c18d-413b-a5b5-4bb892e1411b" providerId="ADAL" clId="{B288FD1A-DC87-4FCC-800D-393BD42B1E09}" dt="2020-11-23T11:19:23.503" v="59" actId="20577"/>
          <ac:spMkLst>
            <pc:docMk/>
            <pc:sldMk cId="2136439337" sldId="256"/>
            <ac:spMk id="2" creationId="{8AB6AFAF-2B5B-4A50-9008-998B2C9A03C2}"/>
          </ac:spMkLst>
        </pc:spChg>
        <pc:spChg chg="mod">
          <ac:chgData name="Tripathy, Anita" userId="5d1ae7a5-c18d-413b-a5b5-4bb892e1411b" providerId="ADAL" clId="{B288FD1A-DC87-4FCC-800D-393BD42B1E09}" dt="2020-11-23T11:19:41.231" v="81" actId="6549"/>
          <ac:spMkLst>
            <pc:docMk/>
            <pc:sldMk cId="2136439337" sldId="256"/>
            <ac:spMk id="3" creationId="{143DBC8B-FF70-423E-AE3E-988A9928E71A}"/>
          </ac:spMkLst>
        </pc:spChg>
      </pc:sldChg>
      <pc:sldChg chg="addSp delSp modSp add modTransition">
        <pc:chgData name="Tripathy, Anita" userId="5d1ae7a5-c18d-413b-a5b5-4bb892e1411b" providerId="ADAL" clId="{B288FD1A-DC87-4FCC-800D-393BD42B1E09}" dt="2020-12-03T15:10:54.602" v="909"/>
        <pc:sldMkLst>
          <pc:docMk/>
          <pc:sldMk cId="0" sldId="259"/>
        </pc:sldMkLst>
        <pc:spChg chg="mod">
          <ac:chgData name="Tripathy, Anita" userId="5d1ae7a5-c18d-413b-a5b5-4bb892e1411b" providerId="ADAL" clId="{B288FD1A-DC87-4FCC-800D-393BD42B1E09}" dt="2020-12-03T15:08:18.806" v="893" actId="1035"/>
          <ac:spMkLst>
            <pc:docMk/>
            <pc:sldMk cId="0" sldId="259"/>
            <ac:spMk id="5" creationId="{00000000-0000-0000-0000-000000000000}"/>
          </ac:spMkLst>
        </pc:spChg>
        <pc:spChg chg="mod">
          <ac:chgData name="Tripathy, Anita" userId="5d1ae7a5-c18d-413b-a5b5-4bb892e1411b" providerId="ADAL" clId="{B288FD1A-DC87-4FCC-800D-393BD42B1E09}" dt="2020-12-03T15:08:29.521" v="894" actId="20577"/>
          <ac:spMkLst>
            <pc:docMk/>
            <pc:sldMk cId="0" sldId="259"/>
            <ac:spMk id="10" creationId="{00000000-0000-0000-0000-000000000000}"/>
          </ac:spMkLst>
        </pc:spChg>
        <pc:spChg chg="mod">
          <ac:chgData name="Tripathy, Anita" userId="5d1ae7a5-c18d-413b-a5b5-4bb892e1411b" providerId="ADAL" clId="{B288FD1A-DC87-4FCC-800D-393BD42B1E09}" dt="2020-12-03T15:08:40.519" v="895" actId="6549"/>
          <ac:spMkLst>
            <pc:docMk/>
            <pc:sldMk cId="0" sldId="259"/>
            <ac:spMk id="46" creationId="{00000000-0000-0000-0000-000000000000}"/>
          </ac:spMkLst>
        </pc:spChg>
        <pc:spChg chg="add del">
          <ac:chgData name="Tripathy, Anita" userId="5d1ae7a5-c18d-413b-a5b5-4bb892e1411b" providerId="ADAL" clId="{B288FD1A-DC87-4FCC-800D-393BD42B1E09}" dt="2020-12-03T15:10:54.602" v="909"/>
          <ac:spMkLst>
            <pc:docMk/>
            <pc:sldMk cId="0" sldId="259"/>
            <ac:spMk id="47" creationId="{A1C90378-A6A2-448B-BD4C-A6D36D1385A8}"/>
          </ac:spMkLst>
        </pc:spChg>
      </pc:sldChg>
      <pc:sldChg chg="del">
        <pc:chgData name="Tripathy, Anita" userId="5d1ae7a5-c18d-413b-a5b5-4bb892e1411b" providerId="ADAL" clId="{B288FD1A-DC87-4FCC-800D-393BD42B1E09}" dt="2020-11-23T13:02:20.395" v="135" actId="2696"/>
        <pc:sldMkLst>
          <pc:docMk/>
          <pc:sldMk cId="1439297401" sldId="260"/>
        </pc:sldMkLst>
      </pc:sldChg>
      <pc:sldChg chg="delSp modSp add del ord">
        <pc:chgData name="Tripathy, Anita" userId="5d1ae7a5-c18d-413b-a5b5-4bb892e1411b" providerId="ADAL" clId="{B288FD1A-DC87-4FCC-800D-393BD42B1E09}" dt="2020-12-03T16:18:27.288" v="1260" actId="2696"/>
        <pc:sldMkLst>
          <pc:docMk/>
          <pc:sldMk cId="1006223062" sldId="272"/>
        </pc:sldMkLst>
        <pc:spChg chg="mod">
          <ac:chgData name="Tripathy, Anita" userId="5d1ae7a5-c18d-413b-a5b5-4bb892e1411b" providerId="ADAL" clId="{B288FD1A-DC87-4FCC-800D-393BD42B1E09}" dt="2020-12-03T15:19:37.739" v="1066" actId="20577"/>
          <ac:spMkLst>
            <pc:docMk/>
            <pc:sldMk cId="1006223062" sldId="272"/>
            <ac:spMk id="5" creationId="{00000000-0000-0000-0000-000000000000}"/>
          </ac:spMkLst>
        </pc:spChg>
        <pc:spChg chg="del mod">
          <ac:chgData name="Tripathy, Anita" userId="5d1ae7a5-c18d-413b-a5b5-4bb892e1411b" providerId="ADAL" clId="{B288FD1A-DC87-4FCC-800D-393BD42B1E09}" dt="2020-12-03T15:10:24.742" v="907"/>
          <ac:spMkLst>
            <pc:docMk/>
            <pc:sldMk cId="1006223062" sldId="272"/>
            <ac:spMk id="36" creationId="{256E4597-67F6-4A10-8041-10847162A056}"/>
          </ac:spMkLst>
        </pc:spChg>
        <pc:grpChg chg="mod">
          <ac:chgData name="Tripathy, Anita" userId="5d1ae7a5-c18d-413b-a5b5-4bb892e1411b" providerId="ADAL" clId="{B288FD1A-DC87-4FCC-800D-393BD42B1E09}" dt="2020-12-03T15:14:28.771" v="1008" actId="1035"/>
          <ac:grpSpMkLst>
            <pc:docMk/>
            <pc:sldMk cId="1006223062" sldId="272"/>
            <ac:grpSpMk id="76" creationId="{8F6C013D-91DD-4AAB-A4FC-1B7218F64502}"/>
          </ac:grpSpMkLst>
        </pc:grpChg>
      </pc:sldChg>
      <pc:sldChg chg="modSp del ord">
        <pc:chgData name="Tripathy, Anita" userId="5d1ae7a5-c18d-413b-a5b5-4bb892e1411b" providerId="ADAL" clId="{B288FD1A-DC87-4FCC-800D-393BD42B1E09}" dt="2020-12-03T16:18:38.193" v="1261" actId="2696"/>
        <pc:sldMkLst>
          <pc:docMk/>
          <pc:sldMk cId="1999459576" sldId="327"/>
        </pc:sldMkLst>
        <pc:spChg chg="mod">
          <ac:chgData name="Tripathy, Anita" userId="5d1ae7a5-c18d-413b-a5b5-4bb892e1411b" providerId="ADAL" clId="{B288FD1A-DC87-4FCC-800D-393BD42B1E09}" dt="2020-12-03T16:18:25.630" v="1258" actId="12"/>
          <ac:spMkLst>
            <pc:docMk/>
            <pc:sldMk cId="1999459576" sldId="327"/>
            <ac:spMk id="16" creationId="{C4AC5E43-7901-4448-B104-957992CB2CF4}"/>
          </ac:spMkLst>
        </pc:spChg>
      </pc:sldChg>
      <pc:sldChg chg="del">
        <pc:chgData name="Tripathy, Anita" userId="5d1ae7a5-c18d-413b-a5b5-4bb892e1411b" providerId="ADAL" clId="{B288FD1A-DC87-4FCC-800D-393BD42B1E09}" dt="2020-11-23T13:02:08.486" v="130" actId="2696"/>
        <pc:sldMkLst>
          <pc:docMk/>
          <pc:sldMk cId="1443690220" sldId="355"/>
        </pc:sldMkLst>
      </pc:sldChg>
      <pc:sldChg chg="del">
        <pc:chgData name="Tripathy, Anita" userId="5d1ae7a5-c18d-413b-a5b5-4bb892e1411b" providerId="ADAL" clId="{B288FD1A-DC87-4FCC-800D-393BD42B1E09}" dt="2020-11-24T07:09:30.562" v="578" actId="2696"/>
        <pc:sldMkLst>
          <pc:docMk/>
          <pc:sldMk cId="116017687" sldId="698"/>
        </pc:sldMkLst>
      </pc:sldChg>
      <pc:sldChg chg="modSp add del">
        <pc:chgData name="Tripathy, Anita" userId="5d1ae7a5-c18d-413b-a5b5-4bb892e1411b" providerId="ADAL" clId="{B288FD1A-DC87-4FCC-800D-393BD42B1E09}" dt="2020-12-03T16:16:56.890" v="1252" actId="20577"/>
        <pc:sldMkLst>
          <pc:docMk/>
          <pc:sldMk cId="4203662419" sldId="701"/>
        </pc:sldMkLst>
        <pc:spChg chg="mod">
          <ac:chgData name="Tripathy, Anita" userId="5d1ae7a5-c18d-413b-a5b5-4bb892e1411b" providerId="ADAL" clId="{B288FD1A-DC87-4FCC-800D-393BD42B1E09}" dt="2020-12-03T16:16:56.890" v="1252" actId="20577"/>
          <ac:spMkLst>
            <pc:docMk/>
            <pc:sldMk cId="4203662419" sldId="701"/>
            <ac:spMk id="5" creationId="{160B2E39-BE6B-4F22-98EF-69B629DFAAF3}"/>
          </ac:spMkLst>
        </pc:spChg>
      </pc:sldChg>
      <pc:sldChg chg="modSp del">
        <pc:chgData name="Tripathy, Anita" userId="5d1ae7a5-c18d-413b-a5b5-4bb892e1411b" providerId="ADAL" clId="{B288FD1A-DC87-4FCC-800D-393BD42B1E09}" dt="2020-11-24T07:01:47.089" v="336" actId="2696"/>
        <pc:sldMkLst>
          <pc:docMk/>
          <pc:sldMk cId="3390318866" sldId="707"/>
        </pc:sldMkLst>
        <pc:spChg chg="mod">
          <ac:chgData name="Tripathy, Anita" userId="5d1ae7a5-c18d-413b-a5b5-4bb892e1411b" providerId="ADAL" clId="{B288FD1A-DC87-4FCC-800D-393BD42B1E09}" dt="2020-11-24T06:48:27.676" v="304"/>
          <ac:spMkLst>
            <pc:docMk/>
            <pc:sldMk cId="3390318866" sldId="707"/>
            <ac:spMk id="6" creationId="{D8F599C9-104C-4B23-95B0-575B812007E3}"/>
          </ac:spMkLst>
        </pc:spChg>
      </pc:sldChg>
      <pc:sldChg chg="addSp delSp modSp ord">
        <pc:chgData name="Tripathy, Anita" userId="5d1ae7a5-c18d-413b-a5b5-4bb892e1411b" providerId="ADAL" clId="{B288FD1A-DC87-4FCC-800D-393BD42B1E09}" dt="2020-12-03T16:14:49.646" v="1210" actId="478"/>
        <pc:sldMkLst>
          <pc:docMk/>
          <pc:sldMk cId="1974041388" sldId="2091"/>
        </pc:sldMkLst>
        <pc:spChg chg="del mod">
          <ac:chgData name="Tripathy, Anita" userId="5d1ae7a5-c18d-413b-a5b5-4bb892e1411b" providerId="ADAL" clId="{B288FD1A-DC87-4FCC-800D-393BD42B1E09}" dt="2020-12-03T04:15:38.141" v="804" actId="478"/>
          <ac:spMkLst>
            <pc:docMk/>
            <pc:sldMk cId="1974041388" sldId="2091"/>
            <ac:spMk id="2" creationId="{00000000-0000-0000-0000-000000000000}"/>
          </ac:spMkLst>
        </pc:spChg>
        <pc:spChg chg="mod">
          <ac:chgData name="Tripathy, Anita" userId="5d1ae7a5-c18d-413b-a5b5-4bb892e1411b" providerId="ADAL" clId="{B288FD1A-DC87-4FCC-800D-393BD42B1E09}" dt="2020-12-03T15:37:52.020" v="1154" actId="14100"/>
          <ac:spMkLst>
            <pc:docMk/>
            <pc:sldMk cId="1974041388" sldId="2091"/>
            <ac:spMk id="3" creationId="{00000000-0000-0000-0000-000000000000}"/>
          </ac:spMkLst>
        </pc:spChg>
        <pc:spChg chg="add del mod">
          <ac:chgData name="Tripathy, Anita" userId="5d1ae7a5-c18d-413b-a5b5-4bb892e1411b" providerId="ADAL" clId="{B288FD1A-DC87-4FCC-800D-393BD42B1E09}" dt="2020-12-03T04:15:43.445" v="805" actId="478"/>
          <ac:spMkLst>
            <pc:docMk/>
            <pc:sldMk cId="1974041388" sldId="2091"/>
            <ac:spMk id="6" creationId="{AFC703F8-B04D-48E6-BA5C-D997EDB4E08E}"/>
          </ac:spMkLst>
        </pc:spChg>
        <pc:spChg chg="mod">
          <ac:chgData name="Tripathy, Anita" userId="5d1ae7a5-c18d-413b-a5b5-4bb892e1411b" providerId="ADAL" clId="{B288FD1A-DC87-4FCC-800D-393BD42B1E09}" dt="2020-12-03T15:38:47.719" v="1167" actId="1035"/>
          <ac:spMkLst>
            <pc:docMk/>
            <pc:sldMk cId="1974041388" sldId="2091"/>
            <ac:spMk id="19" creationId="{00000000-0000-0000-0000-000000000000}"/>
          </ac:spMkLst>
        </pc:spChg>
        <pc:picChg chg="del">
          <ac:chgData name="Tripathy, Anita" userId="5d1ae7a5-c18d-413b-a5b5-4bb892e1411b" providerId="ADAL" clId="{B288FD1A-DC87-4FCC-800D-393BD42B1E09}" dt="2020-12-03T16:14:49.646" v="1210" actId="478"/>
          <ac:picMkLst>
            <pc:docMk/>
            <pc:sldMk cId="1974041388" sldId="2091"/>
            <ac:picMk id="66" creationId="{00000000-0000-0000-0000-000000000000}"/>
          </ac:picMkLst>
        </pc:picChg>
      </pc:sldChg>
      <pc:sldChg chg="add del">
        <pc:chgData name="Tripathy, Anita" userId="5d1ae7a5-c18d-413b-a5b5-4bb892e1411b" providerId="ADAL" clId="{B288FD1A-DC87-4FCC-800D-393BD42B1E09}" dt="2020-11-24T07:29:35.754" v="678" actId="2696"/>
        <pc:sldMkLst>
          <pc:docMk/>
          <pc:sldMk cId="61194594" sldId="2098"/>
        </pc:sldMkLst>
      </pc:sldChg>
      <pc:sldChg chg="modSp add ord modTransition">
        <pc:chgData name="Tripathy, Anita" userId="5d1ae7a5-c18d-413b-a5b5-4bb892e1411b" providerId="ADAL" clId="{B288FD1A-DC87-4FCC-800D-393BD42B1E09}" dt="2020-12-03T15:12:46.072" v="994" actId="20577"/>
        <pc:sldMkLst>
          <pc:docMk/>
          <pc:sldMk cId="1954711931" sldId="2106"/>
        </pc:sldMkLst>
        <pc:spChg chg="mod">
          <ac:chgData name="Tripathy, Anita" userId="5d1ae7a5-c18d-413b-a5b5-4bb892e1411b" providerId="ADAL" clId="{B288FD1A-DC87-4FCC-800D-393BD42B1E09}" dt="2020-11-23T13:05:40.796" v="138"/>
          <ac:spMkLst>
            <pc:docMk/>
            <pc:sldMk cId="1954711931" sldId="2106"/>
            <ac:spMk id="4" creationId="{07EE122A-DECD-4C5A-A973-1B76F87B0DB8}"/>
          </ac:spMkLst>
        </pc:spChg>
        <pc:spChg chg="mod">
          <ac:chgData name="Tripathy, Anita" userId="5d1ae7a5-c18d-413b-a5b5-4bb892e1411b" providerId="ADAL" clId="{B288FD1A-DC87-4FCC-800D-393BD42B1E09}" dt="2020-11-24T07:03:12.790" v="396" actId="14100"/>
          <ac:spMkLst>
            <pc:docMk/>
            <pc:sldMk cId="1954711931" sldId="2106"/>
            <ac:spMk id="5" creationId="{E3416C24-CE6A-4384-99F9-3C13D5393499}"/>
          </ac:spMkLst>
        </pc:spChg>
        <pc:spChg chg="mod">
          <ac:chgData name="Tripathy, Anita" userId="5d1ae7a5-c18d-413b-a5b5-4bb892e1411b" providerId="ADAL" clId="{B288FD1A-DC87-4FCC-800D-393BD42B1E09}" dt="2020-11-24T07:03:18.423" v="397" actId="1076"/>
          <ac:spMkLst>
            <pc:docMk/>
            <pc:sldMk cId="1954711931" sldId="2106"/>
            <ac:spMk id="6" creationId="{90A6FB80-0425-458C-9FB6-F3A042B0066A}"/>
          </ac:spMkLst>
        </pc:spChg>
        <pc:spChg chg="mod">
          <ac:chgData name="Tripathy, Anita" userId="5d1ae7a5-c18d-413b-a5b5-4bb892e1411b" providerId="ADAL" clId="{B288FD1A-DC87-4FCC-800D-393BD42B1E09}" dt="2020-12-03T15:12:46.072" v="994" actId="20577"/>
          <ac:spMkLst>
            <pc:docMk/>
            <pc:sldMk cId="1954711931" sldId="2106"/>
            <ac:spMk id="7" creationId="{B0A86653-3CF3-463C-8F55-70DFC5FF74CF}"/>
          </ac:spMkLst>
        </pc:spChg>
        <pc:spChg chg="mod">
          <ac:chgData name="Tripathy, Anita" userId="5d1ae7a5-c18d-413b-a5b5-4bb892e1411b" providerId="ADAL" clId="{B288FD1A-DC87-4FCC-800D-393BD42B1E09}" dt="2020-12-03T04:13:51.604" v="749" actId="1076"/>
          <ac:spMkLst>
            <pc:docMk/>
            <pc:sldMk cId="1954711931" sldId="2106"/>
            <ac:spMk id="10" creationId="{4F3B3CB9-0DAE-48D9-88DF-4AB804EA1B82}"/>
          </ac:spMkLst>
        </pc:spChg>
      </pc:sldChg>
      <pc:sldChg chg="modSp add del modTransition">
        <pc:chgData name="Tripathy, Anita" userId="5d1ae7a5-c18d-413b-a5b5-4bb892e1411b" providerId="ADAL" clId="{B288FD1A-DC87-4FCC-800D-393BD42B1E09}" dt="2020-11-24T07:10:42.759" v="582" actId="2696"/>
        <pc:sldMkLst>
          <pc:docMk/>
          <pc:sldMk cId="1029537657" sldId="2110"/>
        </pc:sldMkLst>
        <pc:spChg chg="mod">
          <ac:chgData name="Tripathy, Anita" userId="5d1ae7a5-c18d-413b-a5b5-4bb892e1411b" providerId="ADAL" clId="{B288FD1A-DC87-4FCC-800D-393BD42B1E09}" dt="2020-11-23T13:05:40.796" v="138"/>
          <ac:spMkLst>
            <pc:docMk/>
            <pc:sldMk cId="1029537657" sldId="2110"/>
            <ac:spMk id="4" creationId="{07EE122A-DECD-4C5A-A973-1B76F87B0DB8}"/>
          </ac:spMkLst>
        </pc:spChg>
      </pc:sldChg>
      <pc:sldChg chg="modSp add del modTransition">
        <pc:chgData name="Tripathy, Anita" userId="5d1ae7a5-c18d-413b-a5b5-4bb892e1411b" providerId="ADAL" clId="{B288FD1A-DC87-4FCC-800D-393BD42B1E09}" dt="2020-11-24T07:10:42.769" v="583" actId="2696"/>
        <pc:sldMkLst>
          <pc:docMk/>
          <pc:sldMk cId="1740980296" sldId="2111"/>
        </pc:sldMkLst>
        <pc:spChg chg="mod">
          <ac:chgData name="Tripathy, Anita" userId="5d1ae7a5-c18d-413b-a5b5-4bb892e1411b" providerId="ADAL" clId="{B288FD1A-DC87-4FCC-800D-393BD42B1E09}" dt="2020-11-23T13:05:40.796" v="138"/>
          <ac:spMkLst>
            <pc:docMk/>
            <pc:sldMk cId="1740980296" sldId="2111"/>
            <ac:spMk id="4" creationId="{07EE122A-DECD-4C5A-A973-1B76F87B0DB8}"/>
          </ac:spMkLst>
        </pc:spChg>
      </pc:sldChg>
      <pc:sldChg chg="modSp add del modTransition">
        <pc:chgData name="Tripathy, Anita" userId="5d1ae7a5-c18d-413b-a5b5-4bb892e1411b" providerId="ADAL" clId="{B288FD1A-DC87-4FCC-800D-393BD42B1E09}" dt="2020-11-24T07:10:50.971" v="584" actId="2696"/>
        <pc:sldMkLst>
          <pc:docMk/>
          <pc:sldMk cId="1346665544" sldId="2112"/>
        </pc:sldMkLst>
        <pc:spChg chg="mod">
          <ac:chgData name="Tripathy, Anita" userId="5d1ae7a5-c18d-413b-a5b5-4bb892e1411b" providerId="ADAL" clId="{B288FD1A-DC87-4FCC-800D-393BD42B1E09}" dt="2020-11-23T13:05:40.796" v="138"/>
          <ac:spMkLst>
            <pc:docMk/>
            <pc:sldMk cId="1346665544" sldId="2112"/>
            <ac:spMk id="4" creationId="{07EE122A-DECD-4C5A-A973-1B76F87B0DB8}"/>
          </ac:spMkLst>
        </pc:spChg>
      </pc:sldChg>
      <pc:sldChg chg="addSp delSp modSp add modTransition">
        <pc:chgData name="Tripathy, Anita" userId="5d1ae7a5-c18d-413b-a5b5-4bb892e1411b" providerId="ADAL" clId="{B288FD1A-DC87-4FCC-800D-393BD42B1E09}" dt="2020-12-03T15:40:00.189" v="1209" actId="1038"/>
        <pc:sldMkLst>
          <pc:docMk/>
          <pc:sldMk cId="3662801271" sldId="2113"/>
        </pc:sldMkLst>
        <pc:spChg chg="del mod">
          <ac:chgData name="Tripathy, Anita" userId="5d1ae7a5-c18d-413b-a5b5-4bb892e1411b" providerId="ADAL" clId="{B288FD1A-DC87-4FCC-800D-393BD42B1E09}" dt="2020-12-03T15:11:26.047" v="913" actId="478"/>
          <ac:spMkLst>
            <pc:docMk/>
            <pc:sldMk cId="3662801271" sldId="2113"/>
            <ac:spMk id="2" creationId="{F9CB1E7A-B32C-4625-B529-CD5DF7B7C9C1}"/>
          </ac:spMkLst>
        </pc:spChg>
        <pc:spChg chg="mod">
          <ac:chgData name="Tripathy, Anita" userId="5d1ae7a5-c18d-413b-a5b5-4bb892e1411b" providerId="ADAL" clId="{B288FD1A-DC87-4FCC-800D-393BD42B1E09}" dt="2020-11-23T13:05:40.796" v="138"/>
          <ac:spMkLst>
            <pc:docMk/>
            <pc:sldMk cId="3662801271" sldId="2113"/>
            <ac:spMk id="4" creationId="{07EE122A-DECD-4C5A-A973-1B76F87B0DB8}"/>
          </ac:spMkLst>
        </pc:spChg>
        <pc:spChg chg="mod">
          <ac:chgData name="Tripathy, Anita" userId="5d1ae7a5-c18d-413b-a5b5-4bb892e1411b" providerId="ADAL" clId="{B288FD1A-DC87-4FCC-800D-393BD42B1E09}" dt="2020-12-03T15:17:23.083" v="1018" actId="14100"/>
          <ac:spMkLst>
            <pc:docMk/>
            <pc:sldMk cId="3662801271" sldId="2113"/>
            <ac:spMk id="6" creationId="{B544B99B-F43F-4611-94F1-813DB4820222}"/>
          </ac:spMkLst>
        </pc:spChg>
        <pc:spChg chg="mod">
          <ac:chgData name="Tripathy, Anita" userId="5d1ae7a5-c18d-413b-a5b5-4bb892e1411b" providerId="ADAL" clId="{B288FD1A-DC87-4FCC-800D-393BD42B1E09}" dt="2020-12-03T15:18:17.962" v="1047" actId="14100"/>
          <ac:spMkLst>
            <pc:docMk/>
            <pc:sldMk cId="3662801271" sldId="2113"/>
            <ac:spMk id="31" creationId="{34125807-EE80-4376-9E26-766CD19D004B}"/>
          </ac:spMkLst>
        </pc:spChg>
        <pc:spChg chg="add mod">
          <ac:chgData name="Tripathy, Anita" userId="5d1ae7a5-c18d-413b-a5b5-4bb892e1411b" providerId="ADAL" clId="{B288FD1A-DC87-4FCC-800D-393BD42B1E09}" dt="2020-12-03T15:13:54.448" v="995" actId="14100"/>
          <ac:spMkLst>
            <pc:docMk/>
            <pc:sldMk cId="3662801271" sldId="2113"/>
            <ac:spMk id="46" creationId="{EE1E947D-66C1-488B-A8DB-95642882283D}"/>
          </ac:spMkLst>
        </pc:spChg>
        <pc:spChg chg="mod">
          <ac:chgData name="Tripathy, Anita" userId="5d1ae7a5-c18d-413b-a5b5-4bb892e1411b" providerId="ADAL" clId="{B288FD1A-DC87-4FCC-800D-393BD42B1E09}" dt="2020-12-03T15:40:00.189" v="1209" actId="1038"/>
          <ac:spMkLst>
            <pc:docMk/>
            <pc:sldMk cId="3662801271" sldId="2113"/>
            <ac:spMk id="51" creationId="{79CA103D-8A27-4588-9204-F9D313C61A76}"/>
          </ac:spMkLst>
        </pc:spChg>
        <pc:spChg chg="mod">
          <ac:chgData name="Tripathy, Anita" userId="5d1ae7a5-c18d-413b-a5b5-4bb892e1411b" providerId="ADAL" clId="{B288FD1A-DC87-4FCC-800D-393BD42B1E09}" dt="2020-12-03T15:18:04.910" v="1046" actId="1037"/>
          <ac:spMkLst>
            <pc:docMk/>
            <pc:sldMk cId="3662801271" sldId="2113"/>
            <ac:spMk id="52" creationId="{8962CE9F-0E25-4B37-81DE-F1F6389FAFEB}"/>
          </ac:spMkLst>
        </pc:spChg>
        <pc:spChg chg="mod">
          <ac:chgData name="Tripathy, Anita" userId="5d1ae7a5-c18d-413b-a5b5-4bb892e1411b" providerId="ADAL" clId="{B288FD1A-DC87-4FCC-800D-393BD42B1E09}" dt="2020-12-03T15:17:30.967" v="1026" actId="1035"/>
          <ac:spMkLst>
            <pc:docMk/>
            <pc:sldMk cId="3662801271" sldId="2113"/>
            <ac:spMk id="54" creationId="{389DD344-2379-4798-9D0B-6460A3095645}"/>
          </ac:spMkLst>
        </pc:spChg>
        <pc:spChg chg="mod">
          <ac:chgData name="Tripathy, Anita" userId="5d1ae7a5-c18d-413b-a5b5-4bb892e1411b" providerId="ADAL" clId="{B288FD1A-DC87-4FCC-800D-393BD42B1E09}" dt="2020-12-03T15:39:45.055" v="1202" actId="1036"/>
          <ac:spMkLst>
            <pc:docMk/>
            <pc:sldMk cId="3662801271" sldId="2113"/>
            <ac:spMk id="67" creationId="{6E72740B-BBA3-42E8-B1AF-DAF618D1D758}"/>
          </ac:spMkLst>
        </pc:spChg>
      </pc:sldChg>
      <pc:sldChg chg="modSp add del modTransition">
        <pc:chgData name="Tripathy, Anita" userId="5d1ae7a5-c18d-413b-a5b5-4bb892e1411b" providerId="ADAL" clId="{B288FD1A-DC87-4FCC-800D-393BD42B1E09}" dt="2020-11-24T07:27:46.186" v="645" actId="2696"/>
        <pc:sldMkLst>
          <pc:docMk/>
          <pc:sldMk cId="2245904174" sldId="2114"/>
        </pc:sldMkLst>
        <pc:spChg chg="mod">
          <ac:chgData name="Tripathy, Anita" userId="5d1ae7a5-c18d-413b-a5b5-4bb892e1411b" providerId="ADAL" clId="{B288FD1A-DC87-4FCC-800D-393BD42B1E09}" dt="2020-11-23T13:05:40.796" v="138"/>
          <ac:spMkLst>
            <pc:docMk/>
            <pc:sldMk cId="2245904174" sldId="2114"/>
            <ac:spMk id="4" creationId="{07EE122A-DECD-4C5A-A973-1B76F87B0DB8}"/>
          </ac:spMkLst>
        </pc:spChg>
      </pc:sldChg>
      <pc:sldChg chg="modSp add del ord modTransition">
        <pc:chgData name="Tripathy, Anita" userId="5d1ae7a5-c18d-413b-a5b5-4bb892e1411b" providerId="ADAL" clId="{B288FD1A-DC87-4FCC-800D-393BD42B1E09}" dt="2020-12-03T16:19:00.667" v="1263" actId="2696"/>
        <pc:sldMkLst>
          <pc:docMk/>
          <pc:sldMk cId="1372895410" sldId="2115"/>
        </pc:sldMkLst>
        <pc:spChg chg="mod">
          <ac:chgData name="Tripathy, Anita" userId="5d1ae7a5-c18d-413b-a5b5-4bb892e1411b" providerId="ADAL" clId="{B288FD1A-DC87-4FCC-800D-393BD42B1E09}" dt="2020-11-23T13:05:40.796" v="138"/>
          <ac:spMkLst>
            <pc:docMk/>
            <pc:sldMk cId="1372895410" sldId="2115"/>
            <ac:spMk id="4" creationId="{07EE122A-DECD-4C5A-A973-1B76F87B0DB8}"/>
          </ac:spMkLst>
        </pc:spChg>
        <pc:graphicFrameChg chg="mod">
          <ac:chgData name="Tripathy, Anita" userId="5d1ae7a5-c18d-413b-a5b5-4bb892e1411b" providerId="ADAL" clId="{B288FD1A-DC87-4FCC-800D-393BD42B1E09}" dt="2020-11-24T07:27:37.604" v="644" actId="255"/>
          <ac:graphicFrameMkLst>
            <pc:docMk/>
            <pc:sldMk cId="1372895410" sldId="2115"/>
            <ac:graphicFrameMk id="27" creationId="{9E58AF30-859B-4B66-9454-A707687E3861}"/>
          </ac:graphicFrameMkLst>
        </pc:graphicFrameChg>
      </pc:sldChg>
      <pc:sldChg chg="modSp add modTransition">
        <pc:chgData name="Tripathy, Anita" userId="5d1ae7a5-c18d-413b-a5b5-4bb892e1411b" providerId="ADAL" clId="{B288FD1A-DC87-4FCC-800D-393BD42B1E09}" dt="2020-12-03T15:35:55.432" v="1131" actId="1076"/>
        <pc:sldMkLst>
          <pc:docMk/>
          <pc:sldMk cId="3410337325" sldId="2116"/>
        </pc:sldMkLst>
        <pc:spChg chg="mod">
          <ac:chgData name="Tripathy, Anita" userId="5d1ae7a5-c18d-413b-a5b5-4bb892e1411b" providerId="ADAL" clId="{B288FD1A-DC87-4FCC-800D-393BD42B1E09}" dt="2020-11-23T13:05:40.796" v="138"/>
          <ac:spMkLst>
            <pc:docMk/>
            <pc:sldMk cId="3410337325" sldId="2116"/>
            <ac:spMk id="4" creationId="{07EE122A-DECD-4C5A-A973-1B76F87B0DB8}"/>
          </ac:spMkLst>
        </pc:spChg>
        <pc:spChg chg="mod">
          <ac:chgData name="Tripathy, Anita" userId="5d1ae7a5-c18d-413b-a5b5-4bb892e1411b" providerId="ADAL" clId="{B288FD1A-DC87-4FCC-800D-393BD42B1E09}" dt="2020-12-03T15:35:23.057" v="1109" actId="14100"/>
          <ac:spMkLst>
            <pc:docMk/>
            <pc:sldMk cId="3410337325" sldId="2116"/>
            <ac:spMk id="6" creationId="{BD6854A3-2922-4B31-BC14-095E2B174166}"/>
          </ac:spMkLst>
        </pc:spChg>
        <pc:spChg chg="mod">
          <ac:chgData name="Tripathy, Anita" userId="5d1ae7a5-c18d-413b-a5b5-4bb892e1411b" providerId="ADAL" clId="{B288FD1A-DC87-4FCC-800D-393BD42B1E09}" dt="2020-12-03T15:35:27.420" v="1110" actId="14100"/>
          <ac:spMkLst>
            <pc:docMk/>
            <pc:sldMk cId="3410337325" sldId="2116"/>
            <ac:spMk id="8" creationId="{52A31C4D-E475-4CD6-81BE-48F86B3AE979}"/>
          </ac:spMkLst>
        </pc:spChg>
        <pc:spChg chg="mod">
          <ac:chgData name="Tripathy, Anita" userId="5d1ae7a5-c18d-413b-a5b5-4bb892e1411b" providerId="ADAL" clId="{B288FD1A-DC87-4FCC-800D-393BD42B1E09}" dt="2020-12-03T15:35:55.432" v="1131" actId="1076"/>
          <ac:spMkLst>
            <pc:docMk/>
            <pc:sldMk cId="3410337325" sldId="2116"/>
            <ac:spMk id="71" creationId="{3F31EA0A-47EA-4CD3-8B8A-F3EE3E2AD497}"/>
          </ac:spMkLst>
        </pc:spChg>
        <pc:spChg chg="mod">
          <ac:chgData name="Tripathy, Anita" userId="5d1ae7a5-c18d-413b-a5b5-4bb892e1411b" providerId="ADAL" clId="{B288FD1A-DC87-4FCC-800D-393BD42B1E09}" dt="2020-12-03T15:35:50.516" v="1129" actId="1035"/>
          <ac:spMkLst>
            <pc:docMk/>
            <pc:sldMk cId="3410337325" sldId="2116"/>
            <ac:spMk id="76" creationId="{4667231A-BC24-4E1F-83A3-18F8E4BB4B7F}"/>
          </ac:spMkLst>
        </pc:spChg>
        <pc:spChg chg="mod">
          <ac:chgData name="Tripathy, Anita" userId="5d1ae7a5-c18d-413b-a5b5-4bb892e1411b" providerId="ADAL" clId="{B288FD1A-DC87-4FCC-800D-393BD42B1E09}" dt="2020-12-03T15:35:37.862" v="1123" actId="1036"/>
          <ac:spMkLst>
            <pc:docMk/>
            <pc:sldMk cId="3410337325" sldId="2116"/>
            <ac:spMk id="80" creationId="{216D2F02-EAAA-4A35-89CE-DC18A325C110}"/>
          </ac:spMkLst>
        </pc:spChg>
        <pc:graphicFrameChg chg="mod">
          <ac:chgData name="Tripathy, Anita" userId="5d1ae7a5-c18d-413b-a5b5-4bb892e1411b" providerId="ADAL" clId="{B288FD1A-DC87-4FCC-800D-393BD42B1E09}" dt="2020-11-24T07:30:21.082" v="689"/>
          <ac:graphicFrameMkLst>
            <pc:docMk/>
            <pc:sldMk cId="3410337325" sldId="2116"/>
            <ac:graphicFrameMk id="27" creationId="{9E58AF30-859B-4B66-9454-A707687E3861}"/>
          </ac:graphicFrameMkLst>
        </pc:graphicFrameChg>
      </pc:sldChg>
      <pc:sldChg chg="add del">
        <pc:chgData name="Tripathy, Anita" userId="5d1ae7a5-c18d-413b-a5b5-4bb892e1411b" providerId="ADAL" clId="{B288FD1A-DC87-4FCC-800D-393BD42B1E09}" dt="2020-11-24T07:29:39.452" v="679" actId="2696"/>
        <pc:sldMkLst>
          <pc:docMk/>
          <pc:sldMk cId="1970311508" sldId="2117"/>
        </pc:sldMkLst>
      </pc:sldChg>
      <pc:sldChg chg="add del">
        <pc:chgData name="Tripathy, Anita" userId="5d1ae7a5-c18d-413b-a5b5-4bb892e1411b" providerId="ADAL" clId="{B288FD1A-DC87-4FCC-800D-393BD42B1E09}" dt="2020-11-24T07:29:28.827" v="676" actId="2696"/>
        <pc:sldMkLst>
          <pc:docMk/>
          <pc:sldMk cId="121562704" sldId="2118"/>
        </pc:sldMkLst>
      </pc:sldChg>
      <pc:sldChg chg="add del">
        <pc:chgData name="Tripathy, Anita" userId="5d1ae7a5-c18d-413b-a5b5-4bb892e1411b" providerId="ADAL" clId="{B288FD1A-DC87-4FCC-800D-393BD42B1E09}" dt="2020-11-24T07:29:28.833" v="677" actId="2696"/>
        <pc:sldMkLst>
          <pc:docMk/>
          <pc:sldMk cId="3500540716" sldId="2119"/>
        </pc:sldMkLst>
      </pc:sldChg>
      <pc:sldChg chg="add del">
        <pc:chgData name="Tripathy, Anita" userId="5d1ae7a5-c18d-413b-a5b5-4bb892e1411b" providerId="ADAL" clId="{B288FD1A-DC87-4FCC-800D-393BD42B1E09}" dt="2020-11-24T07:29:40.413" v="680" actId="2696"/>
        <pc:sldMkLst>
          <pc:docMk/>
          <pc:sldMk cId="1023198381" sldId="2122"/>
        </pc:sldMkLst>
      </pc:sldChg>
      <pc:sldChg chg="addSp delSp modSp add">
        <pc:chgData name="Tripathy, Anita" userId="5d1ae7a5-c18d-413b-a5b5-4bb892e1411b" providerId="ADAL" clId="{B288FD1A-DC87-4FCC-800D-393BD42B1E09}" dt="2020-11-24T10:27:07.080" v="726" actId="20577"/>
        <pc:sldMkLst>
          <pc:docMk/>
          <pc:sldMk cId="2111361648" sldId="2123"/>
        </pc:sldMkLst>
        <pc:spChg chg="del mod">
          <ac:chgData name="Tripathy, Anita" userId="5d1ae7a5-c18d-413b-a5b5-4bb892e1411b" providerId="ADAL" clId="{B288FD1A-DC87-4FCC-800D-393BD42B1E09}" dt="2020-11-24T10:26:03.389" v="707"/>
          <ac:spMkLst>
            <pc:docMk/>
            <pc:sldMk cId="2111361648" sldId="2123"/>
            <ac:spMk id="2" creationId="{97EAD583-E737-4774-9284-3D0F7A6C41AA}"/>
          </ac:spMkLst>
        </pc:spChg>
        <pc:spChg chg="add del">
          <ac:chgData name="Tripathy, Anita" userId="5d1ae7a5-c18d-413b-a5b5-4bb892e1411b" providerId="ADAL" clId="{B288FD1A-DC87-4FCC-800D-393BD42B1E09}" dt="2020-11-24T10:26:03.387" v="705" actId="478"/>
          <ac:spMkLst>
            <pc:docMk/>
            <pc:sldMk cId="2111361648" sldId="2123"/>
            <ac:spMk id="4" creationId="{B4457ACC-AEA9-4D35-A7A3-0C0CA0F7549B}"/>
          </ac:spMkLst>
        </pc:spChg>
        <pc:spChg chg="del">
          <ac:chgData name="Tripathy, Anita" userId="5d1ae7a5-c18d-413b-a5b5-4bb892e1411b" providerId="ADAL" clId="{B288FD1A-DC87-4FCC-800D-393BD42B1E09}" dt="2020-11-24T08:44:55.336" v="691"/>
          <ac:spMkLst>
            <pc:docMk/>
            <pc:sldMk cId="2111361648" sldId="2123"/>
            <ac:spMk id="5" creationId="{87301933-AD70-4592-8A05-B200DB926FA9}"/>
          </ac:spMkLst>
        </pc:spChg>
        <pc:spChg chg="mod">
          <ac:chgData name="Tripathy, Anita" userId="5d1ae7a5-c18d-413b-a5b5-4bb892e1411b" providerId="ADAL" clId="{B288FD1A-DC87-4FCC-800D-393BD42B1E09}" dt="2020-11-24T10:27:07.080" v="726" actId="20577"/>
          <ac:spMkLst>
            <pc:docMk/>
            <pc:sldMk cId="2111361648" sldId="2123"/>
            <ac:spMk id="7" creationId="{559FF12B-4A7D-401F-B675-EF59DDBB217B}"/>
          </ac:spMkLst>
        </pc:spChg>
      </pc:sldChg>
      <pc:sldChg chg="del ord">
        <pc:chgData name="Tripathy, Anita" userId="5d1ae7a5-c18d-413b-a5b5-4bb892e1411b" providerId="ADAL" clId="{B288FD1A-DC87-4FCC-800D-393BD42B1E09}" dt="2020-11-24T07:29:46.968" v="681" actId="2696"/>
        <pc:sldMkLst>
          <pc:docMk/>
          <pc:sldMk cId="1374448245" sldId="5423"/>
        </pc:sldMkLst>
      </pc:sldChg>
      <pc:sldChg chg="del">
        <pc:chgData name="Tripathy, Anita" userId="5d1ae7a5-c18d-413b-a5b5-4bb892e1411b" providerId="ADAL" clId="{B288FD1A-DC87-4FCC-800D-393BD42B1E09}" dt="2020-11-23T13:02:07.956" v="129" actId="2696"/>
        <pc:sldMkLst>
          <pc:docMk/>
          <pc:sldMk cId="54985344" sldId="6166"/>
        </pc:sldMkLst>
      </pc:sldChg>
      <pc:sldChg chg="del">
        <pc:chgData name="Tripathy, Anita" userId="5d1ae7a5-c18d-413b-a5b5-4bb892e1411b" providerId="ADAL" clId="{B288FD1A-DC87-4FCC-800D-393BD42B1E09}" dt="2020-11-23T13:02:16.290" v="134" actId="2696"/>
        <pc:sldMkLst>
          <pc:docMk/>
          <pc:sldMk cId="1095858738" sldId="6173"/>
        </pc:sldMkLst>
      </pc:sldChg>
      <pc:sldChg chg="del">
        <pc:chgData name="Tripathy, Anita" userId="5d1ae7a5-c18d-413b-a5b5-4bb892e1411b" providerId="ADAL" clId="{B288FD1A-DC87-4FCC-800D-393BD42B1E09}" dt="2020-11-23T13:02:05.807" v="128" actId="2696"/>
        <pc:sldMkLst>
          <pc:docMk/>
          <pc:sldMk cId="3171519983" sldId="2126986414"/>
        </pc:sldMkLst>
      </pc:sldChg>
      <pc:sldChg chg="del">
        <pc:chgData name="Tripathy, Anita" userId="5d1ae7a5-c18d-413b-a5b5-4bb892e1411b" providerId="ADAL" clId="{B288FD1A-DC87-4FCC-800D-393BD42B1E09}" dt="2020-11-23T13:02:05.079" v="127" actId="2696"/>
        <pc:sldMkLst>
          <pc:docMk/>
          <pc:sldMk cId="2750433379" sldId="2126986415"/>
        </pc:sldMkLst>
      </pc:sldChg>
      <pc:sldChg chg="del">
        <pc:chgData name="Tripathy, Anita" userId="5d1ae7a5-c18d-413b-a5b5-4bb892e1411b" providerId="ADAL" clId="{B288FD1A-DC87-4FCC-800D-393BD42B1E09}" dt="2020-11-23T13:01:17.062" v="123" actId="2696"/>
        <pc:sldMkLst>
          <pc:docMk/>
          <pc:sldMk cId="3387507065" sldId="2126986418"/>
        </pc:sldMkLst>
      </pc:sldChg>
      <pc:sldChg chg="del">
        <pc:chgData name="Tripathy, Anita" userId="5d1ae7a5-c18d-413b-a5b5-4bb892e1411b" providerId="ADAL" clId="{B288FD1A-DC87-4FCC-800D-393BD42B1E09}" dt="2020-11-23T13:01:29.987" v="124" actId="2696"/>
        <pc:sldMkLst>
          <pc:docMk/>
          <pc:sldMk cId="2918109116" sldId="2126986419"/>
        </pc:sldMkLst>
      </pc:sldChg>
      <pc:sldChg chg="del">
        <pc:chgData name="Tripathy, Anita" userId="5d1ae7a5-c18d-413b-a5b5-4bb892e1411b" providerId="ADAL" clId="{B288FD1A-DC87-4FCC-800D-393BD42B1E09}" dt="2020-11-23T13:01:32.527" v="125" actId="2696"/>
        <pc:sldMkLst>
          <pc:docMk/>
          <pc:sldMk cId="1613640159" sldId="2126986420"/>
        </pc:sldMkLst>
      </pc:sldChg>
      <pc:sldChg chg="del">
        <pc:chgData name="Tripathy, Anita" userId="5d1ae7a5-c18d-413b-a5b5-4bb892e1411b" providerId="ADAL" clId="{B288FD1A-DC87-4FCC-800D-393BD42B1E09}" dt="2020-11-23T13:02:21.640" v="136" actId="2696"/>
        <pc:sldMkLst>
          <pc:docMk/>
          <pc:sldMk cId="368838837" sldId="2126986421"/>
        </pc:sldMkLst>
      </pc:sldChg>
      <pc:sldChg chg="del">
        <pc:chgData name="Tripathy, Anita" userId="5d1ae7a5-c18d-413b-a5b5-4bb892e1411b" providerId="ADAL" clId="{B288FD1A-DC87-4FCC-800D-393BD42B1E09}" dt="2020-11-23T13:02:09.784" v="131" actId="2696"/>
        <pc:sldMkLst>
          <pc:docMk/>
          <pc:sldMk cId="1944193258" sldId="2126986422"/>
        </pc:sldMkLst>
      </pc:sldChg>
      <pc:sldChg chg="delSp">
        <pc:chgData name="Tripathy, Anita" userId="5d1ae7a5-c18d-413b-a5b5-4bb892e1411b" providerId="ADAL" clId="{B288FD1A-DC87-4FCC-800D-393BD42B1E09}" dt="2020-11-23T13:02:28.938" v="137" actId="478"/>
        <pc:sldMkLst>
          <pc:docMk/>
          <pc:sldMk cId="2131222720" sldId="2126986425"/>
        </pc:sldMkLst>
        <pc:spChg chg="del">
          <ac:chgData name="Tripathy, Anita" userId="5d1ae7a5-c18d-413b-a5b5-4bb892e1411b" providerId="ADAL" clId="{B288FD1A-DC87-4FCC-800D-393BD42B1E09}" dt="2020-11-23T13:02:28.938" v="137" actId="478"/>
          <ac:spMkLst>
            <pc:docMk/>
            <pc:sldMk cId="2131222720" sldId="2126986425"/>
            <ac:spMk id="4" creationId="{A903B2BE-BED1-4A91-8F02-DF6A639BB676}"/>
          </ac:spMkLst>
        </pc:spChg>
      </pc:sldChg>
      <pc:sldChg chg="del">
        <pc:chgData name="Tripathy, Anita" userId="5d1ae7a5-c18d-413b-a5b5-4bb892e1411b" providerId="ADAL" clId="{B288FD1A-DC87-4FCC-800D-393BD42B1E09}" dt="2020-11-23T13:02:10.573" v="132" actId="2696"/>
        <pc:sldMkLst>
          <pc:docMk/>
          <pc:sldMk cId="1565628861" sldId="2126986426"/>
        </pc:sldMkLst>
      </pc:sldChg>
      <pc:sldMasterChg chg="addSldLayout delSldLayout">
        <pc:chgData name="Tripathy, Anita" userId="5d1ae7a5-c18d-413b-a5b5-4bb892e1411b" providerId="ADAL" clId="{B288FD1A-DC87-4FCC-800D-393BD42B1E09}" dt="2020-12-03T16:18:27.278" v="1259" actId="2696"/>
        <pc:sldMasterMkLst>
          <pc:docMk/>
          <pc:sldMasterMk cId="1987436075" sldId="2147484233"/>
        </pc:sldMasterMkLst>
        <pc:sldLayoutChg chg="del">
          <pc:chgData name="Tripathy, Anita" userId="5d1ae7a5-c18d-413b-a5b5-4bb892e1411b" providerId="ADAL" clId="{B288FD1A-DC87-4FCC-800D-393BD42B1E09}" dt="2020-11-23T13:02:10.577" v="133" actId="2696"/>
          <pc:sldLayoutMkLst>
            <pc:docMk/>
            <pc:sldMasterMk cId="1987436075" sldId="2147484233"/>
            <pc:sldLayoutMk cId="1317643531" sldId="2147484263"/>
          </pc:sldLayoutMkLst>
        </pc:sldLayoutChg>
        <pc:sldLayoutChg chg="add del">
          <pc:chgData name="Tripathy, Anita" userId="5d1ae7a5-c18d-413b-a5b5-4bb892e1411b" providerId="ADAL" clId="{B288FD1A-DC87-4FCC-800D-393BD42B1E09}" dt="2020-12-03T16:18:27.278" v="1259" actId="2696"/>
          <pc:sldLayoutMkLst>
            <pc:docMk/>
            <pc:sldMasterMk cId="1987436075" sldId="2147484233"/>
            <pc:sldLayoutMk cId="1841155493" sldId="2147484265"/>
          </pc:sldLayoutMkLst>
        </pc:sldLayoutChg>
      </pc:sldMasterChg>
    </pc:docChg>
  </pc:docChgLst>
  <pc:docChgLst>
    <pc:chgData name="Tripathy, Anita" userId="5d1ae7a5-c18d-413b-a5b5-4bb892e1411b" providerId="ADAL" clId="{7B18A443-61CA-4E2F-81D6-1804885363AD}"/>
    <pc:docChg chg="undo custSel addSld delSld modSld sldOrd">
      <pc:chgData name="Tripathy, Anita" userId="5d1ae7a5-c18d-413b-a5b5-4bb892e1411b" providerId="ADAL" clId="{7B18A443-61CA-4E2F-81D6-1804885363AD}" dt="2020-09-30T06:51:51.835" v="3015" actId="2696"/>
      <pc:docMkLst>
        <pc:docMk/>
      </pc:docMkLst>
      <pc:sldChg chg="del">
        <pc:chgData name="Tripathy, Anita" userId="5d1ae7a5-c18d-413b-a5b5-4bb892e1411b" providerId="ADAL" clId="{7B18A443-61CA-4E2F-81D6-1804885363AD}" dt="2020-09-30T04:34:19.851" v="2" actId="2696"/>
        <pc:sldMkLst>
          <pc:docMk/>
          <pc:sldMk cId="3764127044" sldId="259"/>
        </pc:sldMkLst>
      </pc:sldChg>
      <pc:sldChg chg="add">
        <pc:chgData name="Tripathy, Anita" userId="5d1ae7a5-c18d-413b-a5b5-4bb892e1411b" providerId="ADAL" clId="{7B18A443-61CA-4E2F-81D6-1804885363AD}" dt="2020-09-30T04:34:23.343" v="4"/>
        <pc:sldMkLst>
          <pc:docMk/>
          <pc:sldMk cId="3904622504" sldId="259"/>
        </pc:sldMkLst>
      </pc:sldChg>
      <pc:sldChg chg="add">
        <pc:chgData name="Tripathy, Anita" userId="5d1ae7a5-c18d-413b-a5b5-4bb892e1411b" providerId="ADAL" clId="{7B18A443-61CA-4E2F-81D6-1804885363AD}" dt="2020-09-30T04:34:23.343" v="4"/>
        <pc:sldMkLst>
          <pc:docMk/>
          <pc:sldMk cId="2695020701" sldId="263"/>
        </pc:sldMkLst>
      </pc:sldChg>
      <pc:sldChg chg="del">
        <pc:chgData name="Tripathy, Anita" userId="5d1ae7a5-c18d-413b-a5b5-4bb892e1411b" providerId="ADAL" clId="{7B18A443-61CA-4E2F-81D6-1804885363AD}" dt="2020-09-30T04:34:19.844" v="1" actId="2696"/>
        <pc:sldMkLst>
          <pc:docMk/>
          <pc:sldMk cId="2968003933" sldId="263"/>
        </pc:sldMkLst>
      </pc:sldChg>
      <pc:sldChg chg="modSp">
        <pc:chgData name="Tripathy, Anita" userId="5d1ae7a5-c18d-413b-a5b5-4bb892e1411b" providerId="ADAL" clId="{7B18A443-61CA-4E2F-81D6-1804885363AD}" dt="2020-09-30T06:49:33.832" v="3014" actId="113"/>
        <pc:sldMkLst>
          <pc:docMk/>
          <pc:sldMk cId="1974041388" sldId="2091"/>
        </pc:sldMkLst>
        <pc:spChg chg="mod">
          <ac:chgData name="Tripathy, Anita" userId="5d1ae7a5-c18d-413b-a5b5-4bb892e1411b" providerId="ADAL" clId="{7B18A443-61CA-4E2F-81D6-1804885363AD}" dt="2020-09-30T06:49:33.832" v="3014" actId="113"/>
          <ac:spMkLst>
            <pc:docMk/>
            <pc:sldMk cId="1974041388" sldId="2091"/>
            <ac:spMk id="19" creationId="{00000000-0000-0000-0000-000000000000}"/>
          </ac:spMkLst>
        </pc:spChg>
      </pc:sldChg>
      <pc:sldChg chg="add">
        <pc:chgData name="Tripathy, Anita" userId="5d1ae7a5-c18d-413b-a5b5-4bb892e1411b" providerId="ADAL" clId="{7B18A443-61CA-4E2F-81D6-1804885363AD}" dt="2020-09-30T04:34:23.343" v="4"/>
        <pc:sldMkLst>
          <pc:docMk/>
          <pc:sldMk cId="2669710035" sldId="2126986416"/>
        </pc:sldMkLst>
      </pc:sldChg>
      <pc:sldChg chg="del">
        <pc:chgData name="Tripathy, Anita" userId="5d1ae7a5-c18d-413b-a5b5-4bb892e1411b" providerId="ADAL" clId="{7B18A443-61CA-4E2F-81D6-1804885363AD}" dt="2020-09-30T04:34:19.859" v="3" actId="2696"/>
        <pc:sldMkLst>
          <pc:docMk/>
          <pc:sldMk cId="4210892983" sldId="2126986416"/>
        </pc:sldMkLst>
      </pc:sldChg>
      <pc:sldChg chg="modSp">
        <pc:chgData name="Tripathy, Anita" userId="5d1ae7a5-c18d-413b-a5b5-4bb892e1411b" providerId="ADAL" clId="{7B18A443-61CA-4E2F-81D6-1804885363AD}" dt="2020-09-30T05:39:44.669" v="2950" actId="108"/>
        <pc:sldMkLst>
          <pc:docMk/>
          <pc:sldMk cId="3387507065" sldId="2126986418"/>
        </pc:sldMkLst>
        <pc:spChg chg="mod">
          <ac:chgData name="Tripathy, Anita" userId="5d1ae7a5-c18d-413b-a5b5-4bb892e1411b" providerId="ADAL" clId="{7B18A443-61CA-4E2F-81D6-1804885363AD}" dt="2020-09-30T05:39:44.669" v="2950" actId="108"/>
          <ac:spMkLst>
            <pc:docMk/>
            <pc:sldMk cId="3387507065" sldId="2126986418"/>
            <ac:spMk id="6" creationId="{C831EF65-AF1F-4F5C-B9B5-A904F6E29FE7}"/>
          </ac:spMkLst>
        </pc:spChg>
      </pc:sldChg>
      <pc:sldChg chg="addSp delSp modSp">
        <pc:chgData name="Tripathy, Anita" userId="5d1ae7a5-c18d-413b-a5b5-4bb892e1411b" providerId="ADAL" clId="{7B18A443-61CA-4E2F-81D6-1804885363AD}" dt="2020-09-30T06:46:45.867" v="3002"/>
        <pc:sldMkLst>
          <pc:docMk/>
          <pc:sldMk cId="2918109116" sldId="2126986419"/>
        </pc:sldMkLst>
        <pc:spChg chg="mod">
          <ac:chgData name="Tripathy, Anita" userId="5d1ae7a5-c18d-413b-a5b5-4bb892e1411b" providerId="ADAL" clId="{7B18A443-61CA-4E2F-81D6-1804885363AD}" dt="2020-09-30T06:46:45.867" v="3002"/>
          <ac:spMkLst>
            <pc:docMk/>
            <pc:sldMk cId="2918109116" sldId="2126986419"/>
            <ac:spMk id="5" creationId="{B8978F2F-838C-40BC-B29D-AEC746393A09}"/>
          </ac:spMkLst>
        </pc:spChg>
        <pc:spChg chg="add del">
          <ac:chgData name="Tripathy, Anita" userId="5d1ae7a5-c18d-413b-a5b5-4bb892e1411b" providerId="ADAL" clId="{7B18A443-61CA-4E2F-81D6-1804885363AD}" dt="2020-09-30T05:39:30.942" v="2948"/>
          <ac:spMkLst>
            <pc:docMk/>
            <pc:sldMk cId="2918109116" sldId="2126986419"/>
            <ac:spMk id="6" creationId="{3A3AAE84-EF65-45B0-9673-6BF9E6C1409D}"/>
          </ac:spMkLst>
        </pc:spChg>
      </pc:sldChg>
      <pc:sldChg chg="addSp delSp modSp add">
        <pc:chgData name="Tripathy, Anita" userId="5d1ae7a5-c18d-413b-a5b5-4bb892e1411b" providerId="ADAL" clId="{7B18A443-61CA-4E2F-81D6-1804885363AD}" dt="2020-09-30T04:56:40.960" v="1268" actId="14100"/>
        <pc:sldMkLst>
          <pc:docMk/>
          <pc:sldMk cId="1944193258" sldId="2126986422"/>
        </pc:sldMkLst>
        <pc:spChg chg="mod">
          <ac:chgData name="Tripathy, Anita" userId="5d1ae7a5-c18d-413b-a5b5-4bb892e1411b" providerId="ADAL" clId="{7B18A443-61CA-4E2F-81D6-1804885363AD}" dt="2020-09-30T04:51:27.551" v="954" actId="14100"/>
          <ac:spMkLst>
            <pc:docMk/>
            <pc:sldMk cId="1944193258" sldId="2126986422"/>
            <ac:spMk id="2" creationId="{E0AA9271-63CB-40E6-9227-098DCBF179C4}"/>
          </ac:spMkLst>
        </pc:spChg>
        <pc:spChg chg="mod ord">
          <ac:chgData name="Tripathy, Anita" userId="5d1ae7a5-c18d-413b-a5b5-4bb892e1411b" providerId="ADAL" clId="{7B18A443-61CA-4E2F-81D6-1804885363AD}" dt="2020-09-30T04:38:38.647" v="255" actId="1035"/>
          <ac:spMkLst>
            <pc:docMk/>
            <pc:sldMk cId="1944193258" sldId="2126986422"/>
            <ac:spMk id="7" creationId="{4969E664-0D60-4808-90D9-277595ECB11F}"/>
          </ac:spMkLst>
        </pc:spChg>
        <pc:spChg chg="mod">
          <ac:chgData name="Tripathy, Anita" userId="5d1ae7a5-c18d-413b-a5b5-4bb892e1411b" providerId="ADAL" clId="{7B18A443-61CA-4E2F-81D6-1804885363AD}" dt="2020-09-30T04:46:43.557" v="806" actId="207"/>
          <ac:spMkLst>
            <pc:docMk/>
            <pc:sldMk cId="1944193258" sldId="2126986422"/>
            <ac:spMk id="8" creationId="{C8C28679-C155-42D9-9B6F-212156B3CF87}"/>
          </ac:spMkLst>
        </pc:spChg>
        <pc:spChg chg="add del mod">
          <ac:chgData name="Tripathy, Anita" userId="5d1ae7a5-c18d-413b-a5b5-4bb892e1411b" providerId="ADAL" clId="{7B18A443-61CA-4E2F-81D6-1804885363AD}" dt="2020-09-30T04:46:47.423" v="807" actId="1076"/>
          <ac:spMkLst>
            <pc:docMk/>
            <pc:sldMk cId="1944193258" sldId="2126986422"/>
            <ac:spMk id="9" creationId="{A7880526-3FA3-4130-B680-08FC3A0EAC3E}"/>
          </ac:spMkLst>
        </pc:spChg>
        <pc:spChg chg="add del mod">
          <ac:chgData name="Tripathy, Anita" userId="5d1ae7a5-c18d-413b-a5b5-4bb892e1411b" providerId="ADAL" clId="{7B18A443-61CA-4E2F-81D6-1804885363AD}" dt="2020-09-30T04:37:12.900" v="147" actId="478"/>
          <ac:spMkLst>
            <pc:docMk/>
            <pc:sldMk cId="1944193258" sldId="2126986422"/>
            <ac:spMk id="11" creationId="{005A146D-967F-4704-A445-F3316BE438A4}"/>
          </ac:spMkLst>
        </pc:spChg>
        <pc:spChg chg="mod">
          <ac:chgData name="Tripathy, Anita" userId="5d1ae7a5-c18d-413b-a5b5-4bb892e1411b" providerId="ADAL" clId="{7B18A443-61CA-4E2F-81D6-1804885363AD}" dt="2020-09-30T04:48:47.873" v="829" actId="1076"/>
          <ac:spMkLst>
            <pc:docMk/>
            <pc:sldMk cId="1944193258" sldId="2126986422"/>
            <ac:spMk id="13" creationId="{A0DF83F3-777C-4EED-A8B8-ACD33303FB63}"/>
          </ac:spMkLst>
        </pc:spChg>
        <pc:spChg chg="mod">
          <ac:chgData name="Tripathy, Anita" userId="5d1ae7a5-c18d-413b-a5b5-4bb892e1411b" providerId="ADAL" clId="{7B18A443-61CA-4E2F-81D6-1804885363AD}" dt="2020-09-30T04:47:53.945" v="816" actId="14100"/>
          <ac:spMkLst>
            <pc:docMk/>
            <pc:sldMk cId="1944193258" sldId="2126986422"/>
            <ac:spMk id="15" creationId="{0CB67250-6F0D-44D3-86CB-B6A1776B1FB8}"/>
          </ac:spMkLst>
        </pc:spChg>
        <pc:spChg chg="add mod ord">
          <ac:chgData name="Tripathy, Anita" userId="5d1ae7a5-c18d-413b-a5b5-4bb892e1411b" providerId="ADAL" clId="{7B18A443-61CA-4E2F-81D6-1804885363AD}" dt="2020-09-30T04:56:00.869" v="1248" actId="1076"/>
          <ac:spMkLst>
            <pc:docMk/>
            <pc:sldMk cId="1944193258" sldId="2126986422"/>
            <ac:spMk id="16" creationId="{3387A3AB-1031-4495-9F29-4BED58FAAA76}"/>
          </ac:spMkLst>
        </pc:spChg>
        <pc:spChg chg="mod">
          <ac:chgData name="Tripathy, Anita" userId="5d1ae7a5-c18d-413b-a5b5-4bb892e1411b" providerId="ADAL" clId="{7B18A443-61CA-4E2F-81D6-1804885363AD}" dt="2020-09-30T04:48:43.952" v="828" actId="207"/>
          <ac:spMkLst>
            <pc:docMk/>
            <pc:sldMk cId="1944193258" sldId="2126986422"/>
            <ac:spMk id="17" creationId="{65A09B16-8A04-4E84-86D9-D0460BC17592}"/>
          </ac:spMkLst>
        </pc:spChg>
        <pc:spChg chg="add del mod">
          <ac:chgData name="Tripathy, Anita" userId="5d1ae7a5-c18d-413b-a5b5-4bb892e1411b" providerId="ADAL" clId="{7B18A443-61CA-4E2F-81D6-1804885363AD}" dt="2020-09-30T04:54:36.023" v="1095" actId="478"/>
          <ac:spMkLst>
            <pc:docMk/>
            <pc:sldMk cId="1944193258" sldId="2126986422"/>
            <ac:spMk id="18" creationId="{A6604646-32ED-47C7-AF70-0D9E94ECF146}"/>
          </ac:spMkLst>
        </pc:spChg>
        <pc:spChg chg="mod">
          <ac:chgData name="Tripathy, Anita" userId="5d1ae7a5-c18d-413b-a5b5-4bb892e1411b" providerId="ADAL" clId="{7B18A443-61CA-4E2F-81D6-1804885363AD}" dt="2020-09-30T04:48:57.586" v="832" actId="207"/>
          <ac:spMkLst>
            <pc:docMk/>
            <pc:sldMk cId="1944193258" sldId="2126986422"/>
            <ac:spMk id="19" creationId="{CAD6179F-D8CB-4A4A-AE0F-C28FABFC4661}"/>
          </ac:spMkLst>
        </pc:spChg>
        <pc:spChg chg="mod">
          <ac:chgData name="Tripathy, Anita" userId="5d1ae7a5-c18d-413b-a5b5-4bb892e1411b" providerId="ADAL" clId="{7B18A443-61CA-4E2F-81D6-1804885363AD}" dt="2020-09-30T04:38:09.114" v="243" actId="14100"/>
          <ac:spMkLst>
            <pc:docMk/>
            <pc:sldMk cId="1944193258" sldId="2126986422"/>
            <ac:spMk id="21" creationId="{99D81A00-626B-4E27-90BB-679AB9218CFB}"/>
          </ac:spMkLst>
        </pc:spChg>
        <pc:spChg chg="add del">
          <ac:chgData name="Tripathy, Anita" userId="5d1ae7a5-c18d-413b-a5b5-4bb892e1411b" providerId="ADAL" clId="{7B18A443-61CA-4E2F-81D6-1804885363AD}" dt="2020-09-30T04:36:30.239" v="63" actId="478"/>
          <ac:spMkLst>
            <pc:docMk/>
            <pc:sldMk cId="1944193258" sldId="2126986422"/>
            <ac:spMk id="22" creationId="{33B74035-ED77-4BA1-8DBD-D84EDD1106F1}"/>
          </ac:spMkLst>
        </pc:spChg>
        <pc:spChg chg="mod">
          <ac:chgData name="Tripathy, Anita" userId="5d1ae7a5-c18d-413b-a5b5-4bb892e1411b" providerId="ADAL" clId="{7B18A443-61CA-4E2F-81D6-1804885363AD}" dt="2020-09-30T04:46:43.557" v="806" actId="207"/>
          <ac:spMkLst>
            <pc:docMk/>
            <pc:sldMk cId="1944193258" sldId="2126986422"/>
            <ac:spMk id="27" creationId="{6AEC7D99-29D2-424F-BAB6-C38015F07FA5}"/>
          </ac:spMkLst>
        </pc:spChg>
        <pc:spChg chg="mod">
          <ac:chgData name="Tripathy, Anita" userId="5d1ae7a5-c18d-413b-a5b5-4bb892e1411b" providerId="ADAL" clId="{7B18A443-61CA-4E2F-81D6-1804885363AD}" dt="2020-09-30T04:50:31.166" v="861" actId="1036"/>
          <ac:spMkLst>
            <pc:docMk/>
            <pc:sldMk cId="1944193258" sldId="2126986422"/>
            <ac:spMk id="28" creationId="{B0E7C8A8-C95D-4302-8542-CE99528A4611}"/>
          </ac:spMkLst>
        </pc:spChg>
        <pc:spChg chg="mod">
          <ac:chgData name="Tripathy, Anita" userId="5d1ae7a5-c18d-413b-a5b5-4bb892e1411b" providerId="ADAL" clId="{7B18A443-61CA-4E2F-81D6-1804885363AD}" dt="2020-09-30T04:52:20.527" v="994" actId="1038"/>
          <ac:spMkLst>
            <pc:docMk/>
            <pc:sldMk cId="1944193258" sldId="2126986422"/>
            <ac:spMk id="31" creationId="{6AE61B55-7BAB-412E-8A03-459E6B4C79AA}"/>
          </ac:spMkLst>
        </pc:spChg>
        <pc:spChg chg="mod">
          <ac:chgData name="Tripathy, Anita" userId="5d1ae7a5-c18d-413b-a5b5-4bb892e1411b" providerId="ADAL" clId="{7B18A443-61CA-4E2F-81D6-1804885363AD}" dt="2020-09-30T04:39:23.532" v="298" actId="1037"/>
          <ac:spMkLst>
            <pc:docMk/>
            <pc:sldMk cId="1944193258" sldId="2126986422"/>
            <ac:spMk id="35" creationId="{95E675A7-1838-4A61-9A3E-32763FCB35EC}"/>
          </ac:spMkLst>
        </pc:spChg>
        <pc:spChg chg="mod">
          <ac:chgData name="Tripathy, Anita" userId="5d1ae7a5-c18d-413b-a5b5-4bb892e1411b" providerId="ADAL" clId="{7B18A443-61CA-4E2F-81D6-1804885363AD}" dt="2020-09-30T04:49:24.381" v="844" actId="207"/>
          <ac:spMkLst>
            <pc:docMk/>
            <pc:sldMk cId="1944193258" sldId="2126986422"/>
            <ac:spMk id="36" creationId="{D783C5BC-A6E9-421C-9F37-3624524F2BCA}"/>
          </ac:spMkLst>
        </pc:spChg>
        <pc:spChg chg="mod">
          <ac:chgData name="Tripathy, Anita" userId="5d1ae7a5-c18d-413b-a5b5-4bb892e1411b" providerId="ADAL" clId="{7B18A443-61CA-4E2F-81D6-1804885363AD}" dt="2020-09-30T04:46:24.263" v="803" actId="1036"/>
          <ac:spMkLst>
            <pc:docMk/>
            <pc:sldMk cId="1944193258" sldId="2126986422"/>
            <ac:spMk id="38" creationId="{41467590-12B6-4004-A720-C3FC6AA900AA}"/>
          </ac:spMkLst>
        </pc:spChg>
        <pc:spChg chg="mod">
          <ac:chgData name="Tripathy, Anita" userId="5d1ae7a5-c18d-413b-a5b5-4bb892e1411b" providerId="ADAL" clId="{7B18A443-61CA-4E2F-81D6-1804885363AD}" dt="2020-09-30T04:56:40.960" v="1268" actId="14100"/>
          <ac:spMkLst>
            <pc:docMk/>
            <pc:sldMk cId="1944193258" sldId="2126986422"/>
            <ac:spMk id="39" creationId="{B6E87DBA-966E-413D-BB41-A42D9DE99885}"/>
          </ac:spMkLst>
        </pc:spChg>
        <pc:spChg chg="del mod">
          <ac:chgData name="Tripathy, Anita" userId="5d1ae7a5-c18d-413b-a5b5-4bb892e1411b" providerId="ADAL" clId="{7B18A443-61CA-4E2F-81D6-1804885363AD}" dt="2020-09-30T04:53:25.587" v="998" actId="478"/>
          <ac:spMkLst>
            <pc:docMk/>
            <pc:sldMk cId="1944193258" sldId="2126986422"/>
            <ac:spMk id="40" creationId="{AACB7F7F-D0EB-4AFE-9DC3-259E716C007F}"/>
          </ac:spMkLst>
        </pc:spChg>
        <pc:spChg chg="add del mod ord">
          <ac:chgData name="Tripathy, Anita" userId="5d1ae7a5-c18d-413b-a5b5-4bb892e1411b" providerId="ADAL" clId="{7B18A443-61CA-4E2F-81D6-1804885363AD}" dt="2020-09-30T04:46:17.746" v="792" actId="478"/>
          <ac:spMkLst>
            <pc:docMk/>
            <pc:sldMk cId="1944193258" sldId="2126986422"/>
            <ac:spMk id="41" creationId="{35CF4E42-9B68-4528-AAFF-418AA1889E45}"/>
          </ac:spMkLst>
        </pc:spChg>
        <pc:spChg chg="add mod ord">
          <ac:chgData name="Tripathy, Anita" userId="5d1ae7a5-c18d-413b-a5b5-4bb892e1411b" providerId="ADAL" clId="{7B18A443-61CA-4E2F-81D6-1804885363AD}" dt="2020-09-30T04:47:22.816" v="810" actId="208"/>
          <ac:spMkLst>
            <pc:docMk/>
            <pc:sldMk cId="1944193258" sldId="2126986422"/>
            <ac:spMk id="44" creationId="{B2CC8ECF-B762-4FBE-A6D5-C727E313BCCC}"/>
          </ac:spMkLst>
        </pc:spChg>
        <pc:spChg chg="add mod ord">
          <ac:chgData name="Tripathy, Anita" userId="5d1ae7a5-c18d-413b-a5b5-4bb892e1411b" providerId="ADAL" clId="{7B18A443-61CA-4E2F-81D6-1804885363AD}" dt="2020-09-30T04:49:42.382" v="847" actId="167"/>
          <ac:spMkLst>
            <pc:docMk/>
            <pc:sldMk cId="1944193258" sldId="2126986422"/>
            <ac:spMk id="45" creationId="{10B51FED-A061-4164-8153-192E512B8729}"/>
          </ac:spMkLst>
        </pc:spChg>
        <pc:spChg chg="add mod ord">
          <ac:chgData name="Tripathy, Anita" userId="5d1ae7a5-c18d-413b-a5b5-4bb892e1411b" providerId="ADAL" clId="{7B18A443-61CA-4E2F-81D6-1804885363AD}" dt="2020-09-30T04:48:22.006" v="823" actId="167"/>
          <ac:spMkLst>
            <pc:docMk/>
            <pc:sldMk cId="1944193258" sldId="2126986422"/>
            <ac:spMk id="46" creationId="{3210E61E-BC0C-48AD-BBB5-0602F91165CB}"/>
          </ac:spMkLst>
        </pc:spChg>
        <pc:spChg chg="add mod ord">
          <ac:chgData name="Tripathy, Anita" userId="5d1ae7a5-c18d-413b-a5b5-4bb892e1411b" providerId="ADAL" clId="{7B18A443-61CA-4E2F-81D6-1804885363AD}" dt="2020-09-30T04:47:43.902" v="814" actId="167"/>
          <ac:spMkLst>
            <pc:docMk/>
            <pc:sldMk cId="1944193258" sldId="2126986422"/>
            <ac:spMk id="47" creationId="{457BA70F-EDF9-4EAC-93C1-BC87E843F7C5}"/>
          </ac:spMkLst>
        </pc:spChg>
        <pc:spChg chg="add mod">
          <ac:chgData name="Tripathy, Anita" userId="5d1ae7a5-c18d-413b-a5b5-4bb892e1411b" providerId="ADAL" clId="{7B18A443-61CA-4E2F-81D6-1804885363AD}" dt="2020-09-30T04:56:33.510" v="1267" actId="122"/>
          <ac:spMkLst>
            <pc:docMk/>
            <pc:sldMk cId="1944193258" sldId="2126986422"/>
            <ac:spMk id="48" creationId="{34FC612A-305D-47CC-88AA-07A797C58740}"/>
          </ac:spMkLst>
        </pc:spChg>
        <pc:spChg chg="add mod">
          <ac:chgData name="Tripathy, Anita" userId="5d1ae7a5-c18d-413b-a5b5-4bb892e1411b" providerId="ADAL" clId="{7B18A443-61CA-4E2F-81D6-1804885363AD}" dt="2020-09-30T04:56:08.553" v="1262" actId="20577"/>
          <ac:spMkLst>
            <pc:docMk/>
            <pc:sldMk cId="1944193258" sldId="2126986422"/>
            <ac:spMk id="49" creationId="{629AAC4F-0166-40C4-A443-6B5FD447D4E0}"/>
          </ac:spMkLst>
        </pc:spChg>
        <pc:graphicFrameChg chg="del">
          <ac:chgData name="Tripathy, Anita" userId="5d1ae7a5-c18d-413b-a5b5-4bb892e1411b" providerId="ADAL" clId="{7B18A443-61CA-4E2F-81D6-1804885363AD}" dt="2020-09-30T04:40:02.926" v="342" actId="478"/>
          <ac:graphicFrameMkLst>
            <pc:docMk/>
            <pc:sldMk cId="1944193258" sldId="2126986422"/>
            <ac:graphicFrameMk id="33" creationId="{DE5308A0-0116-425A-94DF-953E31A147C9}"/>
          </ac:graphicFrameMkLst>
        </pc:graphicFrameChg>
        <pc:graphicFrameChg chg="del">
          <ac:chgData name="Tripathy, Anita" userId="5d1ae7a5-c18d-413b-a5b5-4bb892e1411b" providerId="ADAL" clId="{7B18A443-61CA-4E2F-81D6-1804885363AD}" dt="2020-09-30T04:40:00.323" v="341" actId="478"/>
          <ac:graphicFrameMkLst>
            <pc:docMk/>
            <pc:sldMk cId="1944193258" sldId="2126986422"/>
            <ac:graphicFrameMk id="34" creationId="{E6614C1A-800E-4AE2-99BF-671F60787943}"/>
          </ac:graphicFrameMkLst>
        </pc:graphicFrameChg>
        <pc:graphicFrameChg chg="del">
          <ac:chgData name="Tripathy, Anita" userId="5d1ae7a5-c18d-413b-a5b5-4bb892e1411b" providerId="ADAL" clId="{7B18A443-61CA-4E2F-81D6-1804885363AD}" dt="2020-09-30T04:36:42.504" v="64" actId="478"/>
          <ac:graphicFrameMkLst>
            <pc:docMk/>
            <pc:sldMk cId="1944193258" sldId="2126986422"/>
            <ac:graphicFrameMk id="42" creationId="{9D859F63-A0BC-4CB9-929E-D0CBA479743F}"/>
          </ac:graphicFrameMkLst>
        </pc:graphicFrameChg>
        <pc:picChg chg="del">
          <ac:chgData name="Tripathy, Anita" userId="5d1ae7a5-c18d-413b-a5b5-4bb892e1411b" providerId="ADAL" clId="{7B18A443-61CA-4E2F-81D6-1804885363AD}" dt="2020-09-30T04:37:42.711" v="206" actId="478"/>
          <ac:picMkLst>
            <pc:docMk/>
            <pc:sldMk cId="1944193258" sldId="2126986422"/>
            <ac:picMk id="3" creationId="{5E9AE531-2A9D-42BC-9786-E3A584C484F7}"/>
          </ac:picMkLst>
        </pc:picChg>
        <pc:picChg chg="add del">
          <ac:chgData name="Tripathy, Anita" userId="5d1ae7a5-c18d-413b-a5b5-4bb892e1411b" providerId="ADAL" clId="{7B18A443-61CA-4E2F-81D6-1804885363AD}" dt="2020-09-30T04:36:30.239" v="63" actId="478"/>
          <ac:picMkLst>
            <pc:docMk/>
            <pc:sldMk cId="1944193258" sldId="2126986422"/>
            <ac:picMk id="6" creationId="{F527C2E8-BBEB-40CA-82B0-6E136C7D60DE}"/>
          </ac:picMkLst>
        </pc:picChg>
        <pc:picChg chg="del mod">
          <ac:chgData name="Tripathy, Anita" userId="5d1ae7a5-c18d-413b-a5b5-4bb892e1411b" providerId="ADAL" clId="{7B18A443-61CA-4E2F-81D6-1804885363AD}" dt="2020-09-30T04:35:17.807" v="19" actId="478"/>
          <ac:picMkLst>
            <pc:docMk/>
            <pc:sldMk cId="1944193258" sldId="2126986422"/>
            <ac:picMk id="10" creationId="{CC7886C7-AAAF-4069-A16F-C32743D736BF}"/>
          </ac:picMkLst>
        </pc:picChg>
        <pc:picChg chg="del">
          <ac:chgData name="Tripathy, Anita" userId="5d1ae7a5-c18d-413b-a5b5-4bb892e1411b" providerId="ADAL" clId="{7B18A443-61CA-4E2F-81D6-1804885363AD}" dt="2020-09-30T04:44:52.623" v="780" actId="478"/>
          <ac:picMkLst>
            <pc:docMk/>
            <pc:sldMk cId="1944193258" sldId="2126986422"/>
            <ac:picMk id="12" creationId="{54B2EA5B-7D86-4FDC-83E0-B2BA29A519EB}"/>
          </ac:picMkLst>
        </pc:picChg>
        <pc:picChg chg="del">
          <ac:chgData name="Tripathy, Anita" userId="5d1ae7a5-c18d-413b-a5b5-4bb892e1411b" providerId="ADAL" clId="{7B18A443-61CA-4E2F-81D6-1804885363AD}" dt="2020-09-30T04:44:52.623" v="780" actId="478"/>
          <ac:picMkLst>
            <pc:docMk/>
            <pc:sldMk cId="1944193258" sldId="2126986422"/>
            <ac:picMk id="14" creationId="{6F0A4E75-F44A-4B21-8A59-05A594C41B86}"/>
          </ac:picMkLst>
        </pc:picChg>
        <pc:picChg chg="del">
          <ac:chgData name="Tripathy, Anita" userId="5d1ae7a5-c18d-413b-a5b5-4bb892e1411b" providerId="ADAL" clId="{7B18A443-61CA-4E2F-81D6-1804885363AD}" dt="2020-09-30T04:51:42.752" v="955" actId="478"/>
          <ac:picMkLst>
            <pc:docMk/>
            <pc:sldMk cId="1944193258" sldId="2126986422"/>
            <ac:picMk id="20" creationId="{9362973B-ECB5-4DA6-ADBB-65927D07AEDE}"/>
          </ac:picMkLst>
        </pc:picChg>
        <pc:picChg chg="del">
          <ac:chgData name="Tripathy, Anita" userId="5d1ae7a5-c18d-413b-a5b5-4bb892e1411b" providerId="ADAL" clId="{7B18A443-61CA-4E2F-81D6-1804885363AD}" dt="2020-09-30T04:40:16.837" v="346" actId="478"/>
          <ac:picMkLst>
            <pc:docMk/>
            <pc:sldMk cId="1944193258" sldId="2126986422"/>
            <ac:picMk id="24" creationId="{DA0B289A-1F55-49DF-9084-AFE72C91357B}"/>
          </ac:picMkLst>
        </pc:picChg>
        <pc:picChg chg="del">
          <ac:chgData name="Tripathy, Anita" userId="5d1ae7a5-c18d-413b-a5b5-4bb892e1411b" providerId="ADAL" clId="{7B18A443-61CA-4E2F-81D6-1804885363AD}" dt="2020-09-30T04:38:31.782" v="246" actId="478"/>
          <ac:picMkLst>
            <pc:docMk/>
            <pc:sldMk cId="1944193258" sldId="2126986422"/>
            <ac:picMk id="25" creationId="{AD2B5F39-348A-4753-B964-96A31BA58608}"/>
          </ac:picMkLst>
        </pc:picChg>
        <pc:picChg chg="del">
          <ac:chgData name="Tripathy, Anita" userId="5d1ae7a5-c18d-413b-a5b5-4bb892e1411b" providerId="ADAL" clId="{7B18A443-61CA-4E2F-81D6-1804885363AD}" dt="2020-09-30T04:39:52.771" v="339" actId="478"/>
          <ac:picMkLst>
            <pc:docMk/>
            <pc:sldMk cId="1944193258" sldId="2126986422"/>
            <ac:picMk id="29" creationId="{17F6EBD0-D6AB-496F-A264-A9EE6EE59238}"/>
          </ac:picMkLst>
        </pc:picChg>
        <pc:picChg chg="del">
          <ac:chgData name="Tripathy, Anita" userId="5d1ae7a5-c18d-413b-a5b5-4bb892e1411b" providerId="ADAL" clId="{7B18A443-61CA-4E2F-81D6-1804885363AD}" dt="2020-09-30T04:40:04.545" v="343" actId="478"/>
          <ac:picMkLst>
            <pc:docMk/>
            <pc:sldMk cId="1944193258" sldId="2126986422"/>
            <ac:picMk id="32" creationId="{3256AEF9-48C9-4D61-A641-A97FE62936BD}"/>
          </ac:picMkLst>
        </pc:picChg>
        <pc:picChg chg="del">
          <ac:chgData name="Tripathy, Anita" userId="5d1ae7a5-c18d-413b-a5b5-4bb892e1411b" providerId="ADAL" clId="{7B18A443-61CA-4E2F-81D6-1804885363AD}" dt="2020-09-30T04:36:42.504" v="64" actId="478"/>
          <ac:picMkLst>
            <pc:docMk/>
            <pc:sldMk cId="1944193258" sldId="2126986422"/>
            <ac:picMk id="43" creationId="{44F57BC8-E680-4B9C-9FAC-E44BF13896B3}"/>
          </ac:picMkLst>
        </pc:picChg>
      </pc:sldChg>
      <pc:sldChg chg="addSp delSp modSp add del">
        <pc:chgData name="Tripathy, Anita" userId="5d1ae7a5-c18d-413b-a5b5-4bb892e1411b" providerId="ADAL" clId="{7B18A443-61CA-4E2F-81D6-1804885363AD}" dt="2020-09-30T05:02:42.732" v="1426" actId="2696"/>
        <pc:sldMkLst>
          <pc:docMk/>
          <pc:sldMk cId="421968414" sldId="2126986423"/>
        </pc:sldMkLst>
        <pc:spChg chg="mod">
          <ac:chgData name="Tripathy, Anita" userId="5d1ae7a5-c18d-413b-a5b5-4bb892e1411b" providerId="ADAL" clId="{7B18A443-61CA-4E2F-81D6-1804885363AD}" dt="2020-09-30T05:02:25.992" v="1422"/>
          <ac:spMkLst>
            <pc:docMk/>
            <pc:sldMk cId="421968414" sldId="2126986423"/>
            <ac:spMk id="4" creationId="{FC866FD4-1310-454B-841C-D657A15B3F0D}"/>
          </ac:spMkLst>
        </pc:spChg>
        <pc:spChg chg="mod">
          <ac:chgData name="Tripathy, Anita" userId="5d1ae7a5-c18d-413b-a5b5-4bb892e1411b" providerId="ADAL" clId="{7B18A443-61CA-4E2F-81D6-1804885363AD}" dt="2020-09-30T05:02:35.821" v="1424"/>
          <ac:spMkLst>
            <pc:docMk/>
            <pc:sldMk cId="421968414" sldId="2126986423"/>
            <ac:spMk id="5" creationId="{7B809F24-C953-4CA1-B831-3484361C6513}"/>
          </ac:spMkLst>
        </pc:spChg>
        <pc:spChg chg="del mod">
          <ac:chgData name="Tripathy, Anita" userId="5d1ae7a5-c18d-413b-a5b5-4bb892e1411b" providerId="ADAL" clId="{7B18A443-61CA-4E2F-81D6-1804885363AD}" dt="2020-09-30T04:58:53" v="1332"/>
          <ac:spMkLst>
            <pc:docMk/>
            <pc:sldMk cId="421968414" sldId="2126986423"/>
            <ac:spMk id="7" creationId="{4969E664-0D60-4808-90D9-277595ECB11F}"/>
          </ac:spMkLst>
        </pc:spChg>
        <pc:spChg chg="del mod">
          <ac:chgData name="Tripathy, Anita" userId="5d1ae7a5-c18d-413b-a5b5-4bb892e1411b" providerId="ADAL" clId="{7B18A443-61CA-4E2F-81D6-1804885363AD}" dt="2020-09-30T04:59:06.385" v="1336"/>
          <ac:spMkLst>
            <pc:docMk/>
            <pc:sldMk cId="421968414" sldId="2126986423"/>
            <ac:spMk id="15" creationId="{0CB67250-6F0D-44D3-86CB-B6A1776B1FB8}"/>
          </ac:spMkLst>
        </pc:spChg>
        <pc:spChg chg="add del mod">
          <ac:chgData name="Tripathy, Anita" userId="5d1ae7a5-c18d-413b-a5b5-4bb892e1411b" providerId="ADAL" clId="{7B18A443-61CA-4E2F-81D6-1804885363AD}" dt="2020-09-30T04:59:30.855" v="1342"/>
          <ac:spMkLst>
            <pc:docMk/>
            <pc:sldMk cId="421968414" sldId="2126986423"/>
            <ac:spMk id="18" creationId="{78F9B299-0FCA-4AE3-80EB-B3B7588146DF}"/>
          </ac:spMkLst>
        </pc:spChg>
        <pc:spChg chg="del mod">
          <ac:chgData name="Tripathy, Anita" userId="5d1ae7a5-c18d-413b-a5b5-4bb892e1411b" providerId="ADAL" clId="{7B18A443-61CA-4E2F-81D6-1804885363AD}" dt="2020-09-30T04:59:44.957" v="1346"/>
          <ac:spMkLst>
            <pc:docMk/>
            <pc:sldMk cId="421968414" sldId="2126986423"/>
            <ac:spMk id="21" creationId="{99D81A00-626B-4E27-90BB-679AB9218CFB}"/>
          </ac:spMkLst>
        </pc:spChg>
        <pc:spChg chg="del">
          <ac:chgData name="Tripathy, Anita" userId="5d1ae7a5-c18d-413b-a5b5-4bb892e1411b" providerId="ADAL" clId="{7B18A443-61CA-4E2F-81D6-1804885363AD}" dt="2020-09-30T04:58:11.875" v="1276"/>
          <ac:spMkLst>
            <pc:docMk/>
            <pc:sldMk cId="421968414" sldId="2126986423"/>
            <ac:spMk id="22" creationId="{33B74035-ED77-4BA1-8DBD-D84EDD1106F1}"/>
          </ac:spMkLst>
        </pc:spChg>
        <pc:picChg chg="del">
          <ac:chgData name="Tripathy, Anita" userId="5d1ae7a5-c18d-413b-a5b5-4bb892e1411b" providerId="ADAL" clId="{7B18A443-61CA-4E2F-81D6-1804885363AD}" dt="2020-09-30T04:57:29.699" v="1269" actId="478"/>
          <ac:picMkLst>
            <pc:docMk/>
            <pc:sldMk cId="421968414" sldId="2126986423"/>
            <ac:picMk id="6" creationId="{F527C2E8-BBEB-40CA-82B0-6E136C7D60DE}"/>
          </ac:picMkLst>
        </pc:picChg>
        <pc:picChg chg="del">
          <ac:chgData name="Tripathy, Anita" userId="5d1ae7a5-c18d-413b-a5b5-4bb892e1411b" providerId="ADAL" clId="{7B18A443-61CA-4E2F-81D6-1804885363AD}" dt="2020-09-30T04:57:34.843" v="1271" actId="478"/>
          <ac:picMkLst>
            <pc:docMk/>
            <pc:sldMk cId="421968414" sldId="2126986423"/>
            <ac:picMk id="10" creationId="{CC7886C7-AAAF-4069-A16F-C32743D736BF}"/>
          </ac:picMkLst>
        </pc:picChg>
        <pc:picChg chg="del">
          <ac:chgData name="Tripathy, Anita" userId="5d1ae7a5-c18d-413b-a5b5-4bb892e1411b" providerId="ADAL" clId="{7B18A443-61CA-4E2F-81D6-1804885363AD}" dt="2020-09-30T04:57:32.297" v="1270" actId="478"/>
          <ac:picMkLst>
            <pc:docMk/>
            <pc:sldMk cId="421968414" sldId="2126986423"/>
            <ac:picMk id="12" creationId="{54B2EA5B-7D86-4FDC-83E0-B2BA29A519EB}"/>
          </ac:picMkLst>
        </pc:picChg>
        <pc:picChg chg="del">
          <ac:chgData name="Tripathy, Anita" userId="5d1ae7a5-c18d-413b-a5b5-4bb892e1411b" providerId="ADAL" clId="{7B18A443-61CA-4E2F-81D6-1804885363AD}" dt="2020-09-30T04:57:37.242" v="1272" actId="478"/>
          <ac:picMkLst>
            <pc:docMk/>
            <pc:sldMk cId="421968414" sldId="2126986423"/>
            <ac:picMk id="14" creationId="{6F0A4E75-F44A-4B21-8A59-05A594C41B86}"/>
          </ac:picMkLst>
        </pc:picChg>
        <pc:picChg chg="del">
          <ac:chgData name="Tripathy, Anita" userId="5d1ae7a5-c18d-413b-a5b5-4bb892e1411b" providerId="ADAL" clId="{7B18A443-61CA-4E2F-81D6-1804885363AD}" dt="2020-09-30T04:57:39.671" v="1273" actId="478"/>
          <ac:picMkLst>
            <pc:docMk/>
            <pc:sldMk cId="421968414" sldId="2126986423"/>
            <ac:picMk id="16" creationId="{D3F198FD-39AC-4037-B086-113A6C794116}"/>
          </ac:picMkLst>
        </pc:picChg>
        <pc:picChg chg="del">
          <ac:chgData name="Tripathy, Anita" userId="5d1ae7a5-c18d-413b-a5b5-4bb892e1411b" providerId="ADAL" clId="{7B18A443-61CA-4E2F-81D6-1804885363AD}" dt="2020-09-30T04:57:42.126" v="1274" actId="478"/>
          <ac:picMkLst>
            <pc:docMk/>
            <pc:sldMk cId="421968414" sldId="2126986423"/>
            <ac:picMk id="20" creationId="{9362973B-ECB5-4DA6-ADBB-65927D07AEDE}"/>
          </ac:picMkLst>
        </pc:picChg>
      </pc:sldChg>
      <pc:sldChg chg="addSp delSp modSp add del">
        <pc:chgData name="Tripathy, Anita" userId="5d1ae7a5-c18d-413b-a5b5-4bb892e1411b" providerId="ADAL" clId="{7B18A443-61CA-4E2F-81D6-1804885363AD}" dt="2020-09-30T05:24:52.608" v="2946" actId="2696"/>
        <pc:sldMkLst>
          <pc:docMk/>
          <pc:sldMk cId="891272571" sldId="2126986424"/>
        </pc:sldMkLst>
        <pc:spChg chg="del">
          <ac:chgData name="Tripathy, Anita" userId="5d1ae7a5-c18d-413b-a5b5-4bb892e1411b" providerId="ADAL" clId="{7B18A443-61CA-4E2F-81D6-1804885363AD}" dt="2020-09-30T05:07:04.247" v="1790"/>
          <ac:spMkLst>
            <pc:docMk/>
            <pc:sldMk cId="891272571" sldId="2126986424"/>
            <ac:spMk id="6" creationId="{06225A41-6AFC-42F3-BB42-E6A5E40D50C4}"/>
          </ac:spMkLst>
        </pc:spChg>
        <pc:spChg chg="del">
          <ac:chgData name="Tripathy, Anita" userId="5d1ae7a5-c18d-413b-a5b5-4bb892e1411b" providerId="ADAL" clId="{7B18A443-61CA-4E2F-81D6-1804885363AD}" dt="2020-09-30T05:05:32.562" v="1671" actId="478"/>
          <ac:spMkLst>
            <pc:docMk/>
            <pc:sldMk cId="891272571" sldId="2126986424"/>
            <ac:spMk id="7" creationId="{229E0E72-EE7B-4FE4-B1B3-09C0B9A4008F}"/>
          </ac:spMkLst>
        </pc:spChg>
        <pc:spChg chg="del">
          <ac:chgData name="Tripathy, Anita" userId="5d1ae7a5-c18d-413b-a5b5-4bb892e1411b" providerId="ADAL" clId="{7B18A443-61CA-4E2F-81D6-1804885363AD}" dt="2020-09-30T05:03:00.016" v="1427"/>
          <ac:spMkLst>
            <pc:docMk/>
            <pc:sldMk cId="891272571" sldId="2126986424"/>
            <ac:spMk id="8" creationId="{EDC693E5-EDAF-4E7A-9D24-3089BFD90D5B}"/>
          </ac:spMkLst>
        </pc:spChg>
        <pc:spChg chg="del">
          <ac:chgData name="Tripathy, Anita" userId="5d1ae7a5-c18d-413b-a5b5-4bb892e1411b" providerId="ADAL" clId="{7B18A443-61CA-4E2F-81D6-1804885363AD}" dt="2020-09-30T05:06:37.023" v="1684"/>
          <ac:spMkLst>
            <pc:docMk/>
            <pc:sldMk cId="891272571" sldId="2126986424"/>
            <ac:spMk id="10" creationId="{03D32226-28ED-4647-B47E-4D9B5B047572}"/>
          </ac:spMkLst>
        </pc:spChg>
        <pc:spChg chg="del">
          <ac:chgData name="Tripathy, Anita" userId="5d1ae7a5-c18d-413b-a5b5-4bb892e1411b" providerId="ADAL" clId="{7B18A443-61CA-4E2F-81D6-1804885363AD}" dt="2020-09-30T05:07:39.005" v="1952"/>
          <ac:spMkLst>
            <pc:docMk/>
            <pc:sldMk cId="891272571" sldId="2126986424"/>
            <ac:spMk id="12" creationId="{54592ABC-E44B-426A-8B2A-790D7892FB28}"/>
          </ac:spMkLst>
        </pc:spChg>
        <pc:spChg chg="del">
          <ac:chgData name="Tripathy, Anita" userId="5d1ae7a5-c18d-413b-a5b5-4bb892e1411b" providerId="ADAL" clId="{7B18A443-61CA-4E2F-81D6-1804885363AD}" dt="2020-09-30T05:08:00.168" v="2031"/>
          <ac:spMkLst>
            <pc:docMk/>
            <pc:sldMk cId="891272571" sldId="2126986424"/>
            <ac:spMk id="16" creationId="{EE618F67-A38D-4E2A-852E-405155228E87}"/>
          </ac:spMkLst>
        </pc:spChg>
        <pc:picChg chg="del">
          <ac:chgData name="Tripathy, Anita" userId="5d1ae7a5-c18d-413b-a5b5-4bb892e1411b" providerId="ADAL" clId="{7B18A443-61CA-4E2F-81D6-1804885363AD}" dt="2020-09-30T05:05:28.703" v="1670" actId="478"/>
          <ac:picMkLst>
            <pc:docMk/>
            <pc:sldMk cId="891272571" sldId="2126986424"/>
            <ac:picMk id="17" creationId="{8273DA81-F129-4600-AE78-F3DCA72EEFE4}"/>
          </ac:picMkLst>
        </pc:picChg>
        <pc:picChg chg="del mod">
          <ac:chgData name="Tripathy, Anita" userId="5d1ae7a5-c18d-413b-a5b5-4bb892e1411b" providerId="ADAL" clId="{7B18A443-61CA-4E2F-81D6-1804885363AD}" dt="2020-09-30T05:06:37.023" v="1684"/>
          <ac:picMkLst>
            <pc:docMk/>
            <pc:sldMk cId="891272571" sldId="2126986424"/>
            <ac:picMk id="18" creationId="{56E9D197-ACBB-4979-8E7C-5C11DDF06252}"/>
          </ac:picMkLst>
        </pc:picChg>
        <pc:picChg chg="del mod">
          <ac:chgData name="Tripathy, Anita" userId="5d1ae7a5-c18d-413b-a5b5-4bb892e1411b" providerId="ADAL" clId="{7B18A443-61CA-4E2F-81D6-1804885363AD}" dt="2020-09-30T05:07:04.247" v="1790"/>
          <ac:picMkLst>
            <pc:docMk/>
            <pc:sldMk cId="891272571" sldId="2126986424"/>
            <ac:picMk id="19" creationId="{9E5F868F-B49A-402B-BC6F-CD93E3A49531}"/>
          </ac:picMkLst>
        </pc:picChg>
        <pc:picChg chg="add del mod">
          <ac:chgData name="Tripathy, Anita" userId="5d1ae7a5-c18d-413b-a5b5-4bb892e1411b" providerId="ADAL" clId="{7B18A443-61CA-4E2F-81D6-1804885363AD}" dt="2020-09-30T05:07:39.005" v="1952"/>
          <ac:picMkLst>
            <pc:docMk/>
            <pc:sldMk cId="891272571" sldId="2126986424"/>
            <ac:picMk id="20" creationId="{471B11FE-5DD2-43D4-BD8C-5CB3752687A7}"/>
          </ac:picMkLst>
        </pc:picChg>
        <pc:picChg chg="del">
          <ac:chgData name="Tripathy, Anita" userId="5d1ae7a5-c18d-413b-a5b5-4bb892e1411b" providerId="ADAL" clId="{7B18A443-61CA-4E2F-81D6-1804885363AD}" dt="2020-09-30T05:06:05.542" v="1681" actId="478"/>
          <ac:picMkLst>
            <pc:docMk/>
            <pc:sldMk cId="891272571" sldId="2126986424"/>
            <ac:picMk id="21" creationId="{BBFC6875-E646-4D19-AEB7-6814CE33604B}"/>
          </ac:picMkLst>
        </pc:picChg>
        <pc:picChg chg="del mod">
          <ac:chgData name="Tripathy, Anita" userId="5d1ae7a5-c18d-413b-a5b5-4bb892e1411b" providerId="ADAL" clId="{7B18A443-61CA-4E2F-81D6-1804885363AD}" dt="2020-09-30T05:08:00.168" v="2031"/>
          <ac:picMkLst>
            <pc:docMk/>
            <pc:sldMk cId="891272571" sldId="2126986424"/>
            <ac:picMk id="22" creationId="{7142A9CF-C15A-4A4A-B046-9FD050B02556}"/>
          </ac:picMkLst>
        </pc:picChg>
      </pc:sldChg>
      <pc:sldChg chg="delSp modSp add">
        <pc:chgData name="Tripathy, Anita" userId="5d1ae7a5-c18d-413b-a5b5-4bb892e1411b" providerId="ADAL" clId="{7B18A443-61CA-4E2F-81D6-1804885363AD}" dt="2020-09-30T04:34:48.589" v="17" actId="14100"/>
        <pc:sldMkLst>
          <pc:docMk/>
          <pc:sldMk cId="2131222720" sldId="2126986425"/>
        </pc:sldMkLst>
        <pc:spChg chg="del">
          <ac:chgData name="Tripathy, Anita" userId="5d1ae7a5-c18d-413b-a5b5-4bb892e1411b" providerId="ADAL" clId="{7B18A443-61CA-4E2F-81D6-1804885363AD}" dt="2020-09-30T04:34:42.328" v="15" actId="478"/>
          <ac:spMkLst>
            <pc:docMk/>
            <pc:sldMk cId="2131222720" sldId="2126986425"/>
            <ac:spMk id="2" creationId="{0D752C7A-C44B-4DD4-88F0-1299606A2AB8}"/>
          </ac:spMkLst>
        </pc:spChg>
        <pc:spChg chg="mod">
          <ac:chgData name="Tripathy, Anita" userId="5d1ae7a5-c18d-413b-a5b5-4bb892e1411b" providerId="ADAL" clId="{7B18A443-61CA-4E2F-81D6-1804885363AD}" dt="2020-09-30T04:34:48.589" v="17" actId="14100"/>
          <ac:spMkLst>
            <pc:docMk/>
            <pc:sldMk cId="2131222720" sldId="2126986425"/>
            <ac:spMk id="3" creationId="{0889F2A1-CAEE-4FF6-99F7-F7DED45BE329}"/>
          </ac:spMkLst>
        </pc:spChg>
      </pc:sldChg>
      <pc:sldChg chg="addSp delSp modSp add">
        <pc:chgData name="Tripathy, Anita" userId="5d1ae7a5-c18d-413b-a5b5-4bb892e1411b" providerId="ADAL" clId="{7B18A443-61CA-4E2F-81D6-1804885363AD}" dt="2020-09-30T05:24:40.054" v="2945" actId="207"/>
        <pc:sldMkLst>
          <pc:docMk/>
          <pc:sldMk cId="1565628861" sldId="2126986426"/>
        </pc:sldMkLst>
        <pc:spChg chg="del">
          <ac:chgData name="Tripathy, Anita" userId="5d1ae7a5-c18d-413b-a5b5-4bb892e1411b" providerId="ADAL" clId="{7B18A443-61CA-4E2F-81D6-1804885363AD}" dt="2020-09-30T04:59:55.512" v="1349" actId="478"/>
          <ac:spMkLst>
            <pc:docMk/>
            <pc:sldMk cId="1565628861" sldId="2126986426"/>
            <ac:spMk id="2" creationId="{E0AA9271-63CB-40E6-9227-098DCBF179C4}"/>
          </ac:spMkLst>
        </pc:spChg>
        <pc:spChg chg="mod">
          <ac:chgData name="Tripathy, Anita" userId="5d1ae7a5-c18d-413b-a5b5-4bb892e1411b" providerId="ADAL" clId="{7B18A443-61CA-4E2F-81D6-1804885363AD}" dt="2020-09-30T05:02:29.654" v="1423"/>
          <ac:spMkLst>
            <pc:docMk/>
            <pc:sldMk cId="1565628861" sldId="2126986426"/>
            <ac:spMk id="4" creationId="{FC866FD4-1310-454B-841C-D657A15B3F0D}"/>
          </ac:spMkLst>
        </pc:spChg>
        <pc:spChg chg="mod">
          <ac:chgData name="Tripathy, Anita" userId="5d1ae7a5-c18d-413b-a5b5-4bb892e1411b" providerId="ADAL" clId="{7B18A443-61CA-4E2F-81D6-1804885363AD}" dt="2020-09-30T05:02:39.967" v="1425"/>
          <ac:spMkLst>
            <pc:docMk/>
            <pc:sldMk cId="1565628861" sldId="2126986426"/>
            <ac:spMk id="5" creationId="{7B809F24-C953-4CA1-B831-3484361C6513}"/>
          </ac:spMkLst>
        </pc:spChg>
        <pc:spChg chg="mod">
          <ac:chgData name="Tripathy, Anita" userId="5d1ae7a5-c18d-413b-a5b5-4bb892e1411b" providerId="ADAL" clId="{7B18A443-61CA-4E2F-81D6-1804885363AD}" dt="2020-09-30T05:09:03.155" v="2116" actId="1035"/>
          <ac:spMkLst>
            <pc:docMk/>
            <pc:sldMk cId="1565628861" sldId="2126986426"/>
            <ac:spMk id="7" creationId="{4969E664-0D60-4808-90D9-277595ECB11F}"/>
          </ac:spMkLst>
        </pc:spChg>
        <pc:spChg chg="mod">
          <ac:chgData name="Tripathy, Anita" userId="5d1ae7a5-c18d-413b-a5b5-4bb892e1411b" providerId="ADAL" clId="{7B18A443-61CA-4E2F-81D6-1804885363AD}" dt="2020-09-30T05:08:44.152" v="2078" actId="1035"/>
          <ac:spMkLst>
            <pc:docMk/>
            <pc:sldMk cId="1565628861" sldId="2126986426"/>
            <ac:spMk id="8" creationId="{C8C28679-C155-42D9-9B6F-212156B3CF87}"/>
          </ac:spMkLst>
        </pc:spChg>
        <pc:spChg chg="mod">
          <ac:chgData name="Tripathy, Anita" userId="5d1ae7a5-c18d-413b-a5b5-4bb892e1411b" providerId="ADAL" clId="{7B18A443-61CA-4E2F-81D6-1804885363AD}" dt="2020-09-30T05:08:44.152" v="2078" actId="1035"/>
          <ac:spMkLst>
            <pc:docMk/>
            <pc:sldMk cId="1565628861" sldId="2126986426"/>
            <ac:spMk id="9" creationId="{A7880526-3FA3-4130-B680-08FC3A0EAC3E}"/>
          </ac:spMkLst>
        </pc:spChg>
        <pc:spChg chg="add del mod">
          <ac:chgData name="Tripathy, Anita" userId="5d1ae7a5-c18d-413b-a5b5-4bb892e1411b" providerId="ADAL" clId="{7B18A443-61CA-4E2F-81D6-1804885363AD}" dt="2020-09-30T05:16:25.294" v="2475" actId="478"/>
          <ac:spMkLst>
            <pc:docMk/>
            <pc:sldMk cId="1565628861" sldId="2126986426"/>
            <ac:spMk id="11" creationId="{EF8C00E0-C687-4F36-8197-27C5682B069F}"/>
          </ac:spMkLst>
        </pc:spChg>
        <pc:spChg chg="add del mod">
          <ac:chgData name="Tripathy, Anita" userId="5d1ae7a5-c18d-413b-a5b5-4bb892e1411b" providerId="ADAL" clId="{7B18A443-61CA-4E2F-81D6-1804885363AD}" dt="2020-09-30T05:21:13.575" v="2742" actId="478"/>
          <ac:spMkLst>
            <pc:docMk/>
            <pc:sldMk cId="1565628861" sldId="2126986426"/>
            <ac:spMk id="12" creationId="{78DFBAB2-81F8-4AB4-AABC-EDC141289D17}"/>
          </ac:spMkLst>
        </pc:spChg>
        <pc:spChg chg="mod">
          <ac:chgData name="Tripathy, Anita" userId="5d1ae7a5-c18d-413b-a5b5-4bb892e1411b" providerId="ADAL" clId="{7B18A443-61CA-4E2F-81D6-1804885363AD}" dt="2020-09-30T05:10:01.409" v="2143" actId="14100"/>
          <ac:spMkLst>
            <pc:docMk/>
            <pc:sldMk cId="1565628861" sldId="2126986426"/>
            <ac:spMk id="13" creationId="{A0DF83F3-777C-4EED-A8B8-ACD33303FB63}"/>
          </ac:spMkLst>
        </pc:spChg>
        <pc:spChg chg="add del mod">
          <ac:chgData name="Tripathy, Anita" userId="5d1ae7a5-c18d-413b-a5b5-4bb892e1411b" providerId="ADAL" clId="{7B18A443-61CA-4E2F-81D6-1804885363AD}" dt="2020-09-30T05:21:48.760" v="2794" actId="478"/>
          <ac:spMkLst>
            <pc:docMk/>
            <pc:sldMk cId="1565628861" sldId="2126986426"/>
            <ac:spMk id="14" creationId="{3F945074-8E12-4A6B-84AE-062760AB335C}"/>
          </ac:spMkLst>
        </pc:spChg>
        <pc:spChg chg="mod">
          <ac:chgData name="Tripathy, Anita" userId="5d1ae7a5-c18d-413b-a5b5-4bb892e1411b" providerId="ADAL" clId="{7B18A443-61CA-4E2F-81D6-1804885363AD}" dt="2020-09-30T05:10:17.545" v="2192" actId="1035"/>
          <ac:spMkLst>
            <pc:docMk/>
            <pc:sldMk cId="1565628861" sldId="2126986426"/>
            <ac:spMk id="15" creationId="{0CB67250-6F0D-44D3-86CB-B6A1776B1FB8}"/>
          </ac:spMkLst>
        </pc:spChg>
        <pc:spChg chg="mod">
          <ac:chgData name="Tripathy, Anita" userId="5d1ae7a5-c18d-413b-a5b5-4bb892e1411b" providerId="ADAL" clId="{7B18A443-61CA-4E2F-81D6-1804885363AD}" dt="2020-09-30T05:08:44.152" v="2078" actId="1035"/>
          <ac:spMkLst>
            <pc:docMk/>
            <pc:sldMk cId="1565628861" sldId="2126986426"/>
            <ac:spMk id="16" creationId="{3387A3AB-1031-4495-9F29-4BED58FAAA76}"/>
          </ac:spMkLst>
        </pc:spChg>
        <pc:spChg chg="mod">
          <ac:chgData name="Tripathy, Anita" userId="5d1ae7a5-c18d-413b-a5b5-4bb892e1411b" providerId="ADAL" clId="{7B18A443-61CA-4E2F-81D6-1804885363AD}" dt="2020-09-30T05:09:50.986" v="2141" actId="1035"/>
          <ac:spMkLst>
            <pc:docMk/>
            <pc:sldMk cId="1565628861" sldId="2126986426"/>
            <ac:spMk id="17" creationId="{65A09B16-8A04-4E84-86D9-D0460BC17592}"/>
          </ac:spMkLst>
        </pc:spChg>
        <pc:spChg chg="add del mod ord">
          <ac:chgData name="Tripathy, Anita" userId="5d1ae7a5-c18d-413b-a5b5-4bb892e1411b" providerId="ADAL" clId="{7B18A443-61CA-4E2F-81D6-1804885363AD}" dt="2020-09-30T05:20:45.030" v="2618" actId="478"/>
          <ac:spMkLst>
            <pc:docMk/>
            <pc:sldMk cId="1565628861" sldId="2126986426"/>
            <ac:spMk id="18" creationId="{688F596A-1F6B-4345-815A-7276A9DEB604}"/>
          </ac:spMkLst>
        </pc:spChg>
        <pc:spChg chg="del">
          <ac:chgData name="Tripathy, Anita" userId="5d1ae7a5-c18d-413b-a5b5-4bb892e1411b" providerId="ADAL" clId="{7B18A443-61CA-4E2F-81D6-1804885363AD}" dt="2020-09-30T04:59:53.215" v="1348" actId="478"/>
          <ac:spMkLst>
            <pc:docMk/>
            <pc:sldMk cId="1565628861" sldId="2126986426"/>
            <ac:spMk id="19" creationId="{CAD6179F-D8CB-4A4A-AE0F-C28FABFC4661}"/>
          </ac:spMkLst>
        </pc:spChg>
        <pc:spChg chg="add mod">
          <ac:chgData name="Tripathy, Anita" userId="5d1ae7a5-c18d-413b-a5b5-4bb892e1411b" providerId="ADAL" clId="{7B18A443-61CA-4E2F-81D6-1804885363AD}" dt="2020-09-30T05:24:07.171" v="2939" actId="207"/>
          <ac:spMkLst>
            <pc:docMk/>
            <pc:sldMk cId="1565628861" sldId="2126986426"/>
            <ac:spMk id="20" creationId="{043A11BC-0081-4301-83BB-ABFA47EA6352}"/>
          </ac:spMkLst>
        </pc:spChg>
        <pc:spChg chg="mod">
          <ac:chgData name="Tripathy, Anita" userId="5d1ae7a5-c18d-413b-a5b5-4bb892e1411b" providerId="ADAL" clId="{7B18A443-61CA-4E2F-81D6-1804885363AD}" dt="2020-09-30T05:08:55.714" v="2096" actId="1035"/>
          <ac:spMkLst>
            <pc:docMk/>
            <pc:sldMk cId="1565628861" sldId="2126986426"/>
            <ac:spMk id="21" creationId="{99D81A00-626B-4E27-90BB-679AB9218CFB}"/>
          </ac:spMkLst>
        </pc:spChg>
        <pc:spChg chg="add mod">
          <ac:chgData name="Tripathy, Anita" userId="5d1ae7a5-c18d-413b-a5b5-4bb892e1411b" providerId="ADAL" clId="{7B18A443-61CA-4E2F-81D6-1804885363AD}" dt="2020-09-30T05:24:40.054" v="2945" actId="207"/>
          <ac:spMkLst>
            <pc:docMk/>
            <pc:sldMk cId="1565628861" sldId="2126986426"/>
            <ac:spMk id="22" creationId="{13CB6D0E-36A9-4366-910C-E6ADDB96B71E}"/>
          </ac:spMkLst>
        </pc:spChg>
        <pc:spChg chg="mod">
          <ac:chgData name="Tripathy, Anita" userId="5d1ae7a5-c18d-413b-a5b5-4bb892e1411b" providerId="ADAL" clId="{7B18A443-61CA-4E2F-81D6-1804885363AD}" dt="2020-09-30T05:08:44.152" v="2078" actId="1035"/>
          <ac:spMkLst>
            <pc:docMk/>
            <pc:sldMk cId="1565628861" sldId="2126986426"/>
            <ac:spMk id="27" creationId="{6AEC7D99-29D2-424F-BAB6-C38015F07FA5}"/>
          </ac:spMkLst>
        </pc:spChg>
        <pc:spChg chg="del">
          <ac:chgData name="Tripathy, Anita" userId="5d1ae7a5-c18d-413b-a5b5-4bb892e1411b" providerId="ADAL" clId="{7B18A443-61CA-4E2F-81D6-1804885363AD}" dt="2020-09-30T05:00:22.922" v="1354" actId="478"/>
          <ac:spMkLst>
            <pc:docMk/>
            <pc:sldMk cId="1565628861" sldId="2126986426"/>
            <ac:spMk id="28" creationId="{B0E7C8A8-C95D-4302-8542-CE99528A4611}"/>
          </ac:spMkLst>
        </pc:spChg>
        <pc:spChg chg="add del">
          <ac:chgData name="Tripathy, Anita" userId="5d1ae7a5-c18d-413b-a5b5-4bb892e1411b" providerId="ADAL" clId="{7B18A443-61CA-4E2F-81D6-1804885363AD}" dt="2020-09-30T04:58:19.535" v="1278"/>
          <ac:spMkLst>
            <pc:docMk/>
            <pc:sldMk cId="1565628861" sldId="2126986426"/>
            <ac:spMk id="29" creationId="{BD8CAC41-5E51-45E4-A945-BC7D0A0AF058}"/>
          </ac:spMkLst>
        </pc:spChg>
        <pc:spChg chg="add mod">
          <ac:chgData name="Tripathy, Anita" userId="5d1ae7a5-c18d-413b-a5b5-4bb892e1411b" providerId="ADAL" clId="{7B18A443-61CA-4E2F-81D6-1804885363AD}" dt="2020-09-30T05:24:14.730" v="2940" actId="1076"/>
          <ac:spMkLst>
            <pc:docMk/>
            <pc:sldMk cId="1565628861" sldId="2126986426"/>
            <ac:spMk id="30" creationId="{DCDF99E8-DD25-4B1C-A83D-44D60FCEE3C1}"/>
          </ac:spMkLst>
        </pc:spChg>
        <pc:spChg chg="del">
          <ac:chgData name="Tripathy, Anita" userId="5d1ae7a5-c18d-413b-a5b5-4bb892e1411b" providerId="ADAL" clId="{7B18A443-61CA-4E2F-81D6-1804885363AD}" dt="2020-09-30T05:06:26.860" v="1683" actId="478"/>
          <ac:spMkLst>
            <pc:docMk/>
            <pc:sldMk cId="1565628861" sldId="2126986426"/>
            <ac:spMk id="31" creationId="{6AE61B55-7BAB-412E-8A03-459E6B4C79AA}"/>
          </ac:spMkLst>
        </pc:spChg>
        <pc:spChg chg="add del mod">
          <ac:chgData name="Tripathy, Anita" userId="5d1ae7a5-c18d-413b-a5b5-4bb892e1411b" providerId="ADAL" clId="{7B18A443-61CA-4E2F-81D6-1804885363AD}" dt="2020-09-30T05:22:16.776" v="2829" actId="14100"/>
          <ac:spMkLst>
            <pc:docMk/>
            <pc:sldMk cId="1565628861" sldId="2126986426"/>
            <ac:spMk id="32" creationId="{175A4FE0-DD96-412D-97B6-029BD9D263FD}"/>
          </ac:spMkLst>
        </pc:spChg>
        <pc:spChg chg="add mod">
          <ac:chgData name="Tripathy, Anita" userId="5d1ae7a5-c18d-413b-a5b5-4bb892e1411b" providerId="ADAL" clId="{7B18A443-61CA-4E2F-81D6-1804885363AD}" dt="2020-09-30T05:22:52.373" v="2918" actId="1076"/>
          <ac:spMkLst>
            <pc:docMk/>
            <pc:sldMk cId="1565628861" sldId="2126986426"/>
            <ac:spMk id="33" creationId="{C5387679-67C0-490B-917E-3EE5A5FD718A}"/>
          </ac:spMkLst>
        </pc:spChg>
        <pc:spChg chg="mod">
          <ac:chgData name="Tripathy, Anita" userId="5d1ae7a5-c18d-413b-a5b5-4bb892e1411b" providerId="ADAL" clId="{7B18A443-61CA-4E2F-81D6-1804885363AD}" dt="2020-09-30T05:10:07.767" v="2163" actId="1035"/>
          <ac:spMkLst>
            <pc:docMk/>
            <pc:sldMk cId="1565628861" sldId="2126986426"/>
            <ac:spMk id="35" creationId="{95E675A7-1838-4A61-9A3E-32763FCB35EC}"/>
          </ac:spMkLst>
        </pc:spChg>
        <pc:spChg chg="del">
          <ac:chgData name="Tripathy, Anita" userId="5d1ae7a5-c18d-413b-a5b5-4bb892e1411b" providerId="ADAL" clId="{7B18A443-61CA-4E2F-81D6-1804885363AD}" dt="2020-09-30T05:00:14.162" v="1352" actId="478"/>
          <ac:spMkLst>
            <pc:docMk/>
            <pc:sldMk cId="1565628861" sldId="2126986426"/>
            <ac:spMk id="36" creationId="{D783C5BC-A6E9-421C-9F37-3624524F2BCA}"/>
          </ac:spMkLst>
        </pc:spChg>
        <pc:spChg chg="add mod">
          <ac:chgData name="Tripathy, Anita" userId="5d1ae7a5-c18d-413b-a5b5-4bb892e1411b" providerId="ADAL" clId="{7B18A443-61CA-4E2F-81D6-1804885363AD}" dt="2020-09-30T05:23:30.100" v="2927" actId="14100"/>
          <ac:spMkLst>
            <pc:docMk/>
            <pc:sldMk cId="1565628861" sldId="2126986426"/>
            <ac:spMk id="37" creationId="{93E7C272-3903-4D37-AB59-3BC8DB15E95D}"/>
          </ac:spMkLst>
        </pc:spChg>
        <pc:spChg chg="mod">
          <ac:chgData name="Tripathy, Anita" userId="5d1ae7a5-c18d-413b-a5b5-4bb892e1411b" providerId="ADAL" clId="{7B18A443-61CA-4E2F-81D6-1804885363AD}" dt="2020-09-30T05:08:44.152" v="2078" actId="1035"/>
          <ac:spMkLst>
            <pc:docMk/>
            <pc:sldMk cId="1565628861" sldId="2126986426"/>
            <ac:spMk id="38" creationId="{41467590-12B6-4004-A720-C3FC6AA900AA}"/>
          </ac:spMkLst>
        </pc:spChg>
        <pc:spChg chg="del">
          <ac:chgData name="Tripathy, Anita" userId="5d1ae7a5-c18d-413b-a5b5-4bb892e1411b" providerId="ADAL" clId="{7B18A443-61CA-4E2F-81D6-1804885363AD}" dt="2020-09-30T05:00:25.458" v="1355" actId="478"/>
          <ac:spMkLst>
            <pc:docMk/>
            <pc:sldMk cId="1565628861" sldId="2126986426"/>
            <ac:spMk id="39" creationId="{B6E87DBA-966E-413D-BB41-A42D9DE99885}"/>
          </ac:spMkLst>
        </pc:spChg>
        <pc:spChg chg="add mod">
          <ac:chgData name="Tripathy, Anita" userId="5d1ae7a5-c18d-413b-a5b5-4bb892e1411b" providerId="ADAL" clId="{7B18A443-61CA-4E2F-81D6-1804885363AD}" dt="2020-09-30T05:23:11.776" v="2923" actId="1076"/>
          <ac:spMkLst>
            <pc:docMk/>
            <pc:sldMk cId="1565628861" sldId="2126986426"/>
            <ac:spMk id="41" creationId="{CF632454-90BD-4087-8054-80EE8314BE72}"/>
          </ac:spMkLst>
        </pc:spChg>
        <pc:spChg chg="add mod">
          <ac:chgData name="Tripathy, Anita" userId="5d1ae7a5-c18d-413b-a5b5-4bb892e1411b" providerId="ADAL" clId="{7B18A443-61CA-4E2F-81D6-1804885363AD}" dt="2020-09-30T05:24:23.435" v="2942" actId="14100"/>
          <ac:spMkLst>
            <pc:docMk/>
            <pc:sldMk cId="1565628861" sldId="2126986426"/>
            <ac:spMk id="43" creationId="{357592BF-313B-4D78-9559-EFEF33BDDFD4}"/>
          </ac:spMkLst>
        </pc:spChg>
        <pc:spChg chg="mod">
          <ac:chgData name="Tripathy, Anita" userId="5d1ae7a5-c18d-413b-a5b5-4bb892e1411b" providerId="ADAL" clId="{7B18A443-61CA-4E2F-81D6-1804885363AD}" dt="2020-09-30T05:08:44.152" v="2078" actId="1035"/>
          <ac:spMkLst>
            <pc:docMk/>
            <pc:sldMk cId="1565628861" sldId="2126986426"/>
            <ac:spMk id="44" creationId="{B2CC8ECF-B762-4FBE-A6D5-C727E313BCCC}"/>
          </ac:spMkLst>
        </pc:spChg>
        <pc:spChg chg="del">
          <ac:chgData name="Tripathy, Anita" userId="5d1ae7a5-c18d-413b-a5b5-4bb892e1411b" providerId="ADAL" clId="{7B18A443-61CA-4E2F-81D6-1804885363AD}" dt="2020-09-30T05:00:19.532" v="1353" actId="478"/>
          <ac:spMkLst>
            <pc:docMk/>
            <pc:sldMk cId="1565628861" sldId="2126986426"/>
            <ac:spMk id="45" creationId="{10B51FED-A061-4164-8153-192E512B8729}"/>
          </ac:spMkLst>
        </pc:spChg>
        <pc:spChg chg="mod">
          <ac:chgData name="Tripathy, Anita" userId="5d1ae7a5-c18d-413b-a5b5-4bb892e1411b" providerId="ADAL" clId="{7B18A443-61CA-4E2F-81D6-1804885363AD}" dt="2020-09-30T05:09:50.986" v="2141" actId="1035"/>
          <ac:spMkLst>
            <pc:docMk/>
            <pc:sldMk cId="1565628861" sldId="2126986426"/>
            <ac:spMk id="46" creationId="{3210E61E-BC0C-48AD-BBB5-0602F91165CB}"/>
          </ac:spMkLst>
        </pc:spChg>
        <pc:spChg chg="mod">
          <ac:chgData name="Tripathy, Anita" userId="5d1ae7a5-c18d-413b-a5b5-4bb892e1411b" providerId="ADAL" clId="{7B18A443-61CA-4E2F-81D6-1804885363AD}" dt="2020-09-30T05:09:50.986" v="2141" actId="1035"/>
          <ac:spMkLst>
            <pc:docMk/>
            <pc:sldMk cId="1565628861" sldId="2126986426"/>
            <ac:spMk id="47" creationId="{457BA70F-EDF9-4EAC-93C1-BC87E843F7C5}"/>
          </ac:spMkLst>
        </pc:spChg>
        <pc:spChg chg="del">
          <ac:chgData name="Tripathy, Anita" userId="5d1ae7a5-c18d-413b-a5b5-4bb892e1411b" providerId="ADAL" clId="{7B18A443-61CA-4E2F-81D6-1804885363AD}" dt="2020-09-30T05:00:27.634" v="1356" actId="478"/>
          <ac:spMkLst>
            <pc:docMk/>
            <pc:sldMk cId="1565628861" sldId="2126986426"/>
            <ac:spMk id="48" creationId="{34FC612A-305D-47CC-88AA-07A797C58740}"/>
          </ac:spMkLst>
        </pc:spChg>
        <pc:spChg chg="mod">
          <ac:chgData name="Tripathy, Anita" userId="5d1ae7a5-c18d-413b-a5b5-4bb892e1411b" providerId="ADAL" clId="{7B18A443-61CA-4E2F-81D6-1804885363AD}" dt="2020-09-30T05:08:44.152" v="2078" actId="1035"/>
          <ac:spMkLst>
            <pc:docMk/>
            <pc:sldMk cId="1565628861" sldId="2126986426"/>
            <ac:spMk id="49" creationId="{629AAC4F-0166-40C4-A443-6B5FD447D4E0}"/>
          </ac:spMkLst>
        </pc:spChg>
        <pc:spChg chg="add del mod">
          <ac:chgData name="Tripathy, Anita" userId="5d1ae7a5-c18d-413b-a5b5-4bb892e1411b" providerId="ADAL" clId="{7B18A443-61CA-4E2F-81D6-1804885363AD}" dt="2020-09-30T05:23:07.969" v="2922" actId="478"/>
          <ac:spMkLst>
            <pc:docMk/>
            <pc:sldMk cId="1565628861" sldId="2126986426"/>
            <ac:spMk id="50" creationId="{94A9F77C-BC3F-401D-8CF3-922D451BDC15}"/>
          </ac:spMkLst>
        </pc:spChg>
        <pc:spChg chg="add del mod">
          <ac:chgData name="Tripathy, Anita" userId="5d1ae7a5-c18d-413b-a5b5-4bb892e1411b" providerId="ADAL" clId="{7B18A443-61CA-4E2F-81D6-1804885363AD}" dt="2020-09-30T05:22:47.651" v="2917" actId="478"/>
          <ac:spMkLst>
            <pc:docMk/>
            <pc:sldMk cId="1565628861" sldId="2126986426"/>
            <ac:spMk id="51" creationId="{140D9F87-05BC-469B-A91C-ECE13A66CD0E}"/>
          </ac:spMkLst>
        </pc:spChg>
        <pc:picChg chg="add mod">
          <ac:chgData name="Tripathy, Anita" userId="5d1ae7a5-c18d-413b-a5b5-4bb892e1411b" providerId="ADAL" clId="{7B18A443-61CA-4E2F-81D6-1804885363AD}" dt="2020-09-30T05:22:58.037" v="2919" actId="1076"/>
          <ac:picMkLst>
            <pc:docMk/>
            <pc:sldMk cId="1565628861" sldId="2126986426"/>
            <ac:picMk id="34" creationId="{4512C68B-B035-4931-8CAF-1810B464DAAE}"/>
          </ac:picMkLst>
        </pc:picChg>
        <pc:picChg chg="add mod">
          <ac:chgData name="Tripathy, Anita" userId="5d1ae7a5-c18d-413b-a5b5-4bb892e1411b" providerId="ADAL" clId="{7B18A443-61CA-4E2F-81D6-1804885363AD}" dt="2020-09-30T05:23:05.324" v="2921" actId="1076"/>
          <ac:picMkLst>
            <pc:docMk/>
            <pc:sldMk cId="1565628861" sldId="2126986426"/>
            <ac:picMk id="40" creationId="{7D03AEF4-B5D4-4E77-8388-191C247CA5E7}"/>
          </ac:picMkLst>
        </pc:picChg>
        <pc:picChg chg="add mod">
          <ac:chgData name="Tripathy, Anita" userId="5d1ae7a5-c18d-413b-a5b5-4bb892e1411b" providerId="ADAL" clId="{7B18A443-61CA-4E2F-81D6-1804885363AD}" dt="2020-09-30T05:23:35.425" v="2929" actId="1076"/>
          <ac:picMkLst>
            <pc:docMk/>
            <pc:sldMk cId="1565628861" sldId="2126986426"/>
            <ac:picMk id="42" creationId="{D234BC23-4494-475A-B4A6-172253B26476}"/>
          </ac:picMkLst>
        </pc:picChg>
        <pc:cxnChg chg="add del mod">
          <ac:chgData name="Tripathy, Anita" userId="5d1ae7a5-c18d-413b-a5b5-4bb892e1411b" providerId="ADAL" clId="{7B18A443-61CA-4E2F-81D6-1804885363AD}" dt="2020-09-30T05:16:02.078" v="2467" actId="478"/>
          <ac:cxnSpMkLst>
            <pc:docMk/>
            <pc:sldMk cId="1565628861" sldId="2126986426"/>
            <ac:cxnSpMk id="6" creationId="{A0DB47C1-7581-4375-8066-7A880E55F886}"/>
          </ac:cxnSpMkLst>
        </pc:cxnChg>
      </pc:sldChg>
      <pc:sldChg chg="addSp delSp modSp add del ord">
        <pc:chgData name="Tripathy, Anita" userId="5d1ae7a5-c18d-413b-a5b5-4bb892e1411b" providerId="ADAL" clId="{7B18A443-61CA-4E2F-81D6-1804885363AD}" dt="2020-09-30T06:51:51.835" v="3015" actId="2696"/>
        <pc:sldMkLst>
          <pc:docMk/>
          <pc:sldMk cId="3777335130" sldId="2126986427"/>
        </pc:sldMkLst>
        <pc:spChg chg="del">
          <ac:chgData name="Tripathy, Anita" userId="5d1ae7a5-c18d-413b-a5b5-4bb892e1411b" providerId="ADAL" clId="{7B18A443-61CA-4E2F-81D6-1804885363AD}" dt="2020-09-30T06:48:39.809" v="3010" actId="478"/>
          <ac:spMkLst>
            <pc:docMk/>
            <pc:sldMk cId="3777335130" sldId="2126986427"/>
            <ac:spMk id="5" creationId="{AFDD5FD9-7EC0-489D-B755-A0AE98B777ED}"/>
          </ac:spMkLst>
        </pc:spChg>
        <pc:picChg chg="add mod">
          <ac:chgData name="Tripathy, Anita" userId="5d1ae7a5-c18d-413b-a5b5-4bb892e1411b" providerId="ADAL" clId="{7B18A443-61CA-4E2F-81D6-1804885363AD}" dt="2020-09-30T06:48:36.686" v="3009" actId="14100"/>
          <ac:picMkLst>
            <pc:docMk/>
            <pc:sldMk cId="3777335130" sldId="2126986427"/>
            <ac:picMk id="3074" creationId="{A20C1FBE-144D-4698-B09A-E5A5641852A7}"/>
          </ac:picMkLst>
        </pc:picChg>
      </pc:sldChg>
    </pc:docChg>
  </pc:docChgLst>
  <pc:docChgLst>
    <pc:chgData name="Tripathy, Anita" userId="5d1ae7a5-c18d-413b-a5b5-4bb892e1411b" providerId="ADAL" clId="{5FBE3040-8FE5-4A58-B679-0EBB85F314FE}"/>
    <pc:docChg chg="undo custSel delSld modSld">
      <pc:chgData name="Tripathy, Anita" userId="5d1ae7a5-c18d-413b-a5b5-4bb892e1411b" providerId="ADAL" clId="{5FBE3040-8FE5-4A58-B679-0EBB85F314FE}" dt="2020-10-02T14:13:48.279" v="502" actId="5793"/>
      <pc:docMkLst>
        <pc:docMk/>
      </pc:docMkLst>
      <pc:sldChg chg="modNotesTx">
        <pc:chgData name="Tripathy, Anita" userId="5d1ae7a5-c18d-413b-a5b5-4bb892e1411b" providerId="ADAL" clId="{5FBE3040-8FE5-4A58-B679-0EBB85F314FE}" dt="2020-10-02T14:13:32.545" v="489" actId="5793"/>
        <pc:sldMkLst>
          <pc:docMk/>
          <pc:sldMk cId="2136439337" sldId="256"/>
        </pc:sldMkLst>
      </pc:sldChg>
      <pc:sldChg chg="addSp delSp modSp modNotesTx">
        <pc:chgData name="Tripathy, Anita" userId="5d1ae7a5-c18d-413b-a5b5-4bb892e1411b" providerId="ADAL" clId="{5FBE3040-8FE5-4A58-B679-0EBB85F314FE}" dt="2020-10-02T14:13:48.279" v="502" actId="5793"/>
        <pc:sldMkLst>
          <pc:docMk/>
          <pc:sldMk cId="1439297401" sldId="260"/>
        </pc:sldMkLst>
        <pc:spChg chg="add mod">
          <ac:chgData name="Tripathy, Anita" userId="5d1ae7a5-c18d-413b-a5b5-4bb892e1411b" providerId="ADAL" clId="{5FBE3040-8FE5-4A58-B679-0EBB85F314FE}" dt="2020-09-30T10:03:06.735" v="19" actId="207"/>
          <ac:spMkLst>
            <pc:docMk/>
            <pc:sldMk cId="1439297401" sldId="260"/>
            <ac:spMk id="3" creationId="{2357C4E8-DB3B-40F6-A85F-275F2AB184FA}"/>
          </ac:spMkLst>
        </pc:spChg>
        <pc:graphicFrameChg chg="del">
          <ac:chgData name="Tripathy, Anita" userId="5d1ae7a5-c18d-413b-a5b5-4bb892e1411b" providerId="ADAL" clId="{5FBE3040-8FE5-4A58-B679-0EBB85F314FE}" dt="2020-09-30T10:01:45.139" v="2" actId="478"/>
          <ac:graphicFrameMkLst>
            <pc:docMk/>
            <pc:sldMk cId="1439297401" sldId="260"/>
            <ac:graphicFrameMk id="22" creationId="{C0865CD2-5D2E-4FB7-A4CE-08EC41F2457A}"/>
          </ac:graphicFrameMkLst>
        </pc:graphicFrameChg>
        <pc:graphicFrameChg chg="del">
          <ac:chgData name="Tripathy, Anita" userId="5d1ae7a5-c18d-413b-a5b5-4bb892e1411b" providerId="ADAL" clId="{5FBE3040-8FE5-4A58-B679-0EBB85F314FE}" dt="2020-09-30T10:01:45.139" v="2" actId="478"/>
          <ac:graphicFrameMkLst>
            <pc:docMk/>
            <pc:sldMk cId="1439297401" sldId="260"/>
            <ac:graphicFrameMk id="23" creationId="{EF2AC779-12A5-4CC2-9752-962928A5DC4E}"/>
          </ac:graphicFrameMkLst>
        </pc:graphicFrameChg>
        <pc:picChg chg="del">
          <ac:chgData name="Tripathy, Anita" userId="5d1ae7a5-c18d-413b-a5b5-4bb892e1411b" providerId="ADAL" clId="{5FBE3040-8FE5-4A58-B679-0EBB85F314FE}" dt="2020-09-30T10:01:45.139" v="2" actId="478"/>
          <ac:picMkLst>
            <pc:docMk/>
            <pc:sldMk cId="1439297401" sldId="260"/>
            <ac:picMk id="31" creationId="{96F06F31-0CB1-4C47-8E1F-7F01893C8A7C}"/>
          </ac:picMkLst>
        </pc:picChg>
      </pc:sldChg>
      <pc:sldChg chg="modSp">
        <pc:chgData name="Tripathy, Anita" userId="5d1ae7a5-c18d-413b-a5b5-4bb892e1411b" providerId="ADAL" clId="{5FBE3040-8FE5-4A58-B679-0EBB85F314FE}" dt="2020-09-30T10:36:03.815" v="104" actId="14100"/>
        <pc:sldMkLst>
          <pc:docMk/>
          <pc:sldMk cId="1999459576" sldId="327"/>
        </pc:sldMkLst>
        <pc:spChg chg="mod">
          <ac:chgData name="Tripathy, Anita" userId="5d1ae7a5-c18d-413b-a5b5-4bb892e1411b" providerId="ADAL" clId="{5FBE3040-8FE5-4A58-B679-0EBB85F314FE}" dt="2020-09-30T10:36:03.815" v="104" actId="14100"/>
          <ac:spMkLst>
            <pc:docMk/>
            <pc:sldMk cId="1999459576" sldId="327"/>
            <ac:spMk id="16" creationId="{C4AC5E43-7901-4448-B104-957992CB2CF4}"/>
          </ac:spMkLst>
        </pc:spChg>
      </pc:sldChg>
      <pc:sldChg chg="modSp">
        <pc:chgData name="Tripathy, Anita" userId="5d1ae7a5-c18d-413b-a5b5-4bb892e1411b" providerId="ADAL" clId="{5FBE3040-8FE5-4A58-B679-0EBB85F314FE}" dt="2020-10-02T14:13:40.993" v="491" actId="2"/>
        <pc:sldMkLst>
          <pc:docMk/>
          <pc:sldMk cId="116017687" sldId="698"/>
        </pc:sldMkLst>
        <pc:spChg chg="mod">
          <ac:chgData name="Tripathy, Anita" userId="5d1ae7a5-c18d-413b-a5b5-4bb892e1411b" providerId="ADAL" clId="{5FBE3040-8FE5-4A58-B679-0EBB85F314FE}" dt="2020-09-30T10:38:35.492" v="129" actId="6549"/>
          <ac:spMkLst>
            <pc:docMk/>
            <pc:sldMk cId="116017687" sldId="698"/>
            <ac:spMk id="4" creationId="{B70E4604-4165-4C7C-998B-888A1CD4C4BC}"/>
          </ac:spMkLst>
        </pc:spChg>
        <pc:spChg chg="mod">
          <ac:chgData name="Tripathy, Anita" userId="5d1ae7a5-c18d-413b-a5b5-4bb892e1411b" providerId="ADAL" clId="{5FBE3040-8FE5-4A58-B679-0EBB85F314FE}" dt="2020-10-02T14:13:40.993" v="491" actId="2"/>
          <ac:spMkLst>
            <pc:docMk/>
            <pc:sldMk cId="116017687" sldId="698"/>
            <ac:spMk id="5" creationId="{A807A182-D098-4780-B420-DA1CAA140892}"/>
          </ac:spMkLst>
        </pc:spChg>
      </pc:sldChg>
      <pc:sldChg chg="modSp">
        <pc:chgData name="Tripathy, Anita" userId="5d1ae7a5-c18d-413b-a5b5-4bb892e1411b" providerId="ADAL" clId="{5FBE3040-8FE5-4A58-B679-0EBB85F314FE}" dt="2020-09-30T10:37:24.348" v="120" actId="108"/>
        <pc:sldMkLst>
          <pc:docMk/>
          <pc:sldMk cId="4203662419" sldId="701"/>
        </pc:sldMkLst>
        <pc:spChg chg="mod">
          <ac:chgData name="Tripathy, Anita" userId="5d1ae7a5-c18d-413b-a5b5-4bb892e1411b" providerId="ADAL" clId="{5FBE3040-8FE5-4A58-B679-0EBB85F314FE}" dt="2020-09-30T10:37:24.348" v="120" actId="108"/>
          <ac:spMkLst>
            <pc:docMk/>
            <pc:sldMk cId="4203662419" sldId="701"/>
            <ac:spMk id="4" creationId="{B70E4604-4165-4C7C-998B-888A1CD4C4BC}"/>
          </ac:spMkLst>
        </pc:spChg>
      </pc:sldChg>
      <pc:sldChg chg="delSp modSp">
        <pc:chgData name="Tripathy, Anita" userId="5d1ae7a5-c18d-413b-a5b5-4bb892e1411b" providerId="ADAL" clId="{5FBE3040-8FE5-4A58-B679-0EBB85F314FE}" dt="2020-10-02T12:15:12.108" v="273" actId="478"/>
        <pc:sldMkLst>
          <pc:docMk/>
          <pc:sldMk cId="3390318866" sldId="707"/>
        </pc:sldMkLst>
        <pc:spChg chg="del">
          <ac:chgData name="Tripathy, Anita" userId="5d1ae7a5-c18d-413b-a5b5-4bb892e1411b" providerId="ADAL" clId="{5FBE3040-8FE5-4A58-B679-0EBB85F314FE}" dt="2020-10-02T12:15:12.108" v="273" actId="478"/>
          <ac:spMkLst>
            <pc:docMk/>
            <pc:sldMk cId="3390318866" sldId="707"/>
            <ac:spMk id="5" creationId="{F49B05E1-BE54-4830-8214-98F3CA66D252}"/>
          </ac:spMkLst>
        </pc:spChg>
        <pc:spChg chg="mod">
          <ac:chgData name="Tripathy, Anita" userId="5d1ae7a5-c18d-413b-a5b5-4bb892e1411b" providerId="ADAL" clId="{5FBE3040-8FE5-4A58-B679-0EBB85F314FE}" dt="2020-10-02T12:15:05.513" v="272" actId="20577"/>
          <ac:spMkLst>
            <pc:docMk/>
            <pc:sldMk cId="3390318866" sldId="707"/>
            <ac:spMk id="6" creationId="{D8F599C9-104C-4B23-95B0-575B812007E3}"/>
          </ac:spMkLst>
        </pc:spChg>
      </pc:sldChg>
      <pc:sldChg chg="modSp">
        <pc:chgData name="Tripathy, Anita" userId="5d1ae7a5-c18d-413b-a5b5-4bb892e1411b" providerId="ADAL" clId="{5FBE3040-8FE5-4A58-B679-0EBB85F314FE}" dt="2020-10-02T13:50:14.228" v="448" actId="20577"/>
        <pc:sldMkLst>
          <pc:docMk/>
          <pc:sldMk cId="1974041388" sldId="2091"/>
        </pc:sldMkLst>
        <pc:spChg chg="mod">
          <ac:chgData name="Tripathy, Anita" userId="5d1ae7a5-c18d-413b-a5b5-4bb892e1411b" providerId="ADAL" clId="{5FBE3040-8FE5-4A58-B679-0EBB85F314FE}" dt="2020-10-02T13:50:14.228" v="448" actId="20577"/>
          <ac:spMkLst>
            <pc:docMk/>
            <pc:sldMk cId="1974041388" sldId="2091"/>
            <ac:spMk id="19" creationId="{00000000-0000-0000-0000-000000000000}"/>
          </ac:spMkLst>
        </pc:spChg>
      </pc:sldChg>
      <pc:sldChg chg="delSp del">
        <pc:chgData name="Tripathy, Anita" userId="5d1ae7a5-c18d-413b-a5b5-4bb892e1411b" providerId="ADAL" clId="{5FBE3040-8FE5-4A58-B679-0EBB85F314FE}" dt="2020-10-02T14:03:39.229" v="455" actId="2696"/>
        <pc:sldMkLst>
          <pc:docMk/>
          <pc:sldMk cId="1691507077" sldId="5422"/>
        </pc:sldMkLst>
        <pc:picChg chg="del">
          <ac:chgData name="Tripathy, Anita" userId="5d1ae7a5-c18d-413b-a5b5-4bb892e1411b" providerId="ADAL" clId="{5FBE3040-8FE5-4A58-B679-0EBB85F314FE}" dt="2020-10-02T14:03:34.710" v="454" actId="478"/>
          <ac:picMkLst>
            <pc:docMk/>
            <pc:sldMk cId="1691507077" sldId="5422"/>
            <ac:picMk id="5" creationId="{4ED07AB7-748E-4230-9DA1-49FE95E45D32}"/>
          </ac:picMkLst>
        </pc:picChg>
      </pc:sldChg>
      <pc:sldChg chg="modSp">
        <pc:chgData name="Tripathy, Anita" userId="5d1ae7a5-c18d-413b-a5b5-4bb892e1411b" providerId="ADAL" clId="{5FBE3040-8FE5-4A58-B679-0EBB85F314FE}" dt="2020-10-02T14:05:08.050" v="459" actId="14100"/>
        <pc:sldMkLst>
          <pc:docMk/>
          <pc:sldMk cId="1374448245" sldId="5423"/>
        </pc:sldMkLst>
        <pc:picChg chg="mod">
          <ac:chgData name="Tripathy, Anita" userId="5d1ae7a5-c18d-413b-a5b5-4bb892e1411b" providerId="ADAL" clId="{5FBE3040-8FE5-4A58-B679-0EBB85F314FE}" dt="2020-10-02T14:05:08.050" v="459" actId="14100"/>
          <ac:picMkLst>
            <pc:docMk/>
            <pc:sldMk cId="1374448245" sldId="5423"/>
            <ac:picMk id="4" creationId="{CC63CCE2-19B8-469A-967D-D54E9F86CE7D}"/>
          </ac:picMkLst>
        </pc:picChg>
      </pc:sldChg>
      <pc:sldChg chg="delSp modSp">
        <pc:chgData name="Tripathy, Anita" userId="5d1ae7a5-c18d-413b-a5b5-4bb892e1411b" providerId="ADAL" clId="{5FBE3040-8FE5-4A58-B679-0EBB85F314FE}" dt="2020-10-02T14:07:52.398" v="476" actId="478"/>
        <pc:sldMkLst>
          <pc:docMk/>
          <pc:sldMk cId="54985344" sldId="6166"/>
        </pc:sldMkLst>
        <pc:spChg chg="del">
          <ac:chgData name="Tripathy, Anita" userId="5d1ae7a5-c18d-413b-a5b5-4bb892e1411b" providerId="ADAL" clId="{5FBE3040-8FE5-4A58-B679-0EBB85F314FE}" dt="2020-10-02T14:07:52.398" v="476" actId="478"/>
          <ac:spMkLst>
            <pc:docMk/>
            <pc:sldMk cId="54985344" sldId="6166"/>
            <ac:spMk id="5" creationId="{090C7D39-A6D6-477F-9FAA-9F13D310EBA0}"/>
          </ac:spMkLst>
        </pc:spChg>
        <pc:spChg chg="mod">
          <ac:chgData name="Tripathy, Anita" userId="5d1ae7a5-c18d-413b-a5b5-4bb892e1411b" providerId="ADAL" clId="{5FBE3040-8FE5-4A58-B679-0EBB85F314FE}" dt="2020-10-02T14:07:39.919" v="475" actId="20577"/>
          <ac:spMkLst>
            <pc:docMk/>
            <pc:sldMk cId="54985344" sldId="6166"/>
            <ac:spMk id="54" creationId="{24AFDE0C-2087-4C17-9912-77E584674541}"/>
          </ac:spMkLst>
        </pc:spChg>
      </pc:sldChg>
      <pc:sldChg chg="modSp">
        <pc:chgData name="Tripathy, Anita" userId="5d1ae7a5-c18d-413b-a5b5-4bb892e1411b" providerId="ADAL" clId="{5FBE3040-8FE5-4A58-B679-0EBB85F314FE}" dt="2020-10-02T14:06:59.694" v="472" actId="1035"/>
        <pc:sldMkLst>
          <pc:docMk/>
          <pc:sldMk cId="3171519983" sldId="2126986414"/>
        </pc:sldMkLst>
        <pc:spChg chg="mod">
          <ac:chgData name="Tripathy, Anita" userId="5d1ae7a5-c18d-413b-a5b5-4bb892e1411b" providerId="ADAL" clId="{5FBE3040-8FE5-4A58-B679-0EBB85F314FE}" dt="2020-09-30T10:01:30.999" v="1" actId="6549"/>
          <ac:spMkLst>
            <pc:docMk/>
            <pc:sldMk cId="3171519983" sldId="2126986414"/>
            <ac:spMk id="3" creationId="{101F333B-0BC8-4A2C-AAC8-DDEE0A193868}"/>
          </ac:spMkLst>
        </pc:spChg>
        <pc:spChg chg="mod">
          <ac:chgData name="Tripathy, Anita" userId="5d1ae7a5-c18d-413b-a5b5-4bb892e1411b" providerId="ADAL" clId="{5FBE3040-8FE5-4A58-B679-0EBB85F314FE}" dt="2020-10-02T14:06:59.694" v="472" actId="1035"/>
          <ac:spMkLst>
            <pc:docMk/>
            <pc:sldMk cId="3171519983" sldId="2126986414"/>
            <ac:spMk id="32" creationId="{29CD635D-ACEC-4D39-9E6A-2D4F08A994AA}"/>
          </ac:spMkLst>
        </pc:spChg>
      </pc:sldChg>
      <pc:sldChg chg="modSp">
        <pc:chgData name="Tripathy, Anita" userId="5d1ae7a5-c18d-413b-a5b5-4bb892e1411b" providerId="ADAL" clId="{5FBE3040-8FE5-4A58-B679-0EBB85F314FE}" dt="2020-10-02T14:05:38.017" v="465" actId="20577"/>
        <pc:sldMkLst>
          <pc:docMk/>
          <pc:sldMk cId="2750433379" sldId="2126986415"/>
        </pc:sldMkLst>
        <pc:spChg chg="mod">
          <ac:chgData name="Tripathy, Anita" userId="5d1ae7a5-c18d-413b-a5b5-4bb892e1411b" providerId="ADAL" clId="{5FBE3040-8FE5-4A58-B679-0EBB85F314FE}" dt="2020-09-30T10:01:25.187" v="0" actId="6549"/>
          <ac:spMkLst>
            <pc:docMk/>
            <pc:sldMk cId="2750433379" sldId="2126986415"/>
            <ac:spMk id="4" creationId="{1C687987-B5E7-4051-94FC-D5642E6ADAB1}"/>
          </ac:spMkLst>
        </pc:spChg>
        <pc:spChg chg="mod">
          <ac:chgData name="Tripathy, Anita" userId="5d1ae7a5-c18d-413b-a5b5-4bb892e1411b" providerId="ADAL" clId="{5FBE3040-8FE5-4A58-B679-0EBB85F314FE}" dt="2020-10-02T14:05:38.017" v="465" actId="20577"/>
          <ac:spMkLst>
            <pc:docMk/>
            <pc:sldMk cId="2750433379" sldId="2126986415"/>
            <ac:spMk id="18" creationId="{775A3320-1380-4204-A34B-EADBB39EEF6E}"/>
          </ac:spMkLst>
        </pc:spChg>
      </pc:sldChg>
      <pc:sldChg chg="addSp delSp modSp">
        <pc:chgData name="Tripathy, Anita" userId="5d1ae7a5-c18d-413b-a5b5-4bb892e1411b" providerId="ADAL" clId="{5FBE3040-8FE5-4A58-B679-0EBB85F314FE}" dt="2020-10-02T12:15:29.690" v="275" actId="478"/>
        <pc:sldMkLst>
          <pc:docMk/>
          <pc:sldMk cId="3387507065" sldId="2126986418"/>
        </pc:sldMkLst>
        <pc:spChg chg="del">
          <ac:chgData name="Tripathy, Anita" userId="5d1ae7a5-c18d-413b-a5b5-4bb892e1411b" providerId="ADAL" clId="{5FBE3040-8FE5-4A58-B679-0EBB85F314FE}" dt="2020-09-30T10:39:50.558" v="230" actId="478"/>
          <ac:spMkLst>
            <pc:docMk/>
            <pc:sldMk cId="3387507065" sldId="2126986418"/>
            <ac:spMk id="3" creationId="{36A01A5C-7F3D-4FA0-93A6-3D3C05741F30}"/>
          </ac:spMkLst>
        </pc:spChg>
        <pc:spChg chg="mod">
          <ac:chgData name="Tripathy, Anita" userId="5d1ae7a5-c18d-413b-a5b5-4bb892e1411b" providerId="ADAL" clId="{5FBE3040-8FE5-4A58-B679-0EBB85F314FE}" dt="2020-09-30T10:39:42.769" v="229" actId="20577"/>
          <ac:spMkLst>
            <pc:docMk/>
            <pc:sldMk cId="3387507065" sldId="2126986418"/>
            <ac:spMk id="4" creationId="{F0D68BB8-1D4E-44BC-BAC5-CE88CE4FC308}"/>
          </ac:spMkLst>
        </pc:spChg>
        <pc:spChg chg="add del mod">
          <ac:chgData name="Tripathy, Anita" userId="5d1ae7a5-c18d-413b-a5b5-4bb892e1411b" providerId="ADAL" clId="{5FBE3040-8FE5-4A58-B679-0EBB85F314FE}" dt="2020-10-02T12:15:29.690" v="275" actId="478"/>
          <ac:spMkLst>
            <pc:docMk/>
            <pc:sldMk cId="3387507065" sldId="2126986418"/>
            <ac:spMk id="5" creationId="{C635E536-6008-43C5-BB4E-45D486228857}"/>
          </ac:spMkLst>
        </pc:spChg>
        <pc:spChg chg="del">
          <ac:chgData name="Tripathy, Anita" userId="5d1ae7a5-c18d-413b-a5b5-4bb892e1411b" providerId="ADAL" clId="{5FBE3040-8FE5-4A58-B679-0EBB85F314FE}" dt="2020-10-02T12:15:22.562" v="274" actId="478"/>
          <ac:spMkLst>
            <pc:docMk/>
            <pc:sldMk cId="3387507065" sldId="2126986418"/>
            <ac:spMk id="6" creationId="{C831EF65-AF1F-4F5C-B9B5-A904F6E29FE7}"/>
          </ac:spMkLst>
        </pc:spChg>
      </pc:sldChg>
      <pc:sldChg chg="modSp">
        <pc:chgData name="Tripathy, Anita" userId="5d1ae7a5-c18d-413b-a5b5-4bb892e1411b" providerId="ADAL" clId="{5FBE3040-8FE5-4A58-B679-0EBB85F314FE}" dt="2020-09-30T10:34:50.993" v="66" actId="20577"/>
        <pc:sldMkLst>
          <pc:docMk/>
          <pc:sldMk cId="2918109116" sldId="2126986419"/>
        </pc:sldMkLst>
        <pc:spChg chg="mod">
          <ac:chgData name="Tripathy, Anita" userId="5d1ae7a5-c18d-413b-a5b5-4bb892e1411b" providerId="ADAL" clId="{5FBE3040-8FE5-4A58-B679-0EBB85F314FE}" dt="2020-09-30T10:34:50.993" v="66" actId="20577"/>
          <ac:spMkLst>
            <pc:docMk/>
            <pc:sldMk cId="2918109116" sldId="2126986419"/>
            <ac:spMk id="3" creationId="{623DC92D-B260-4461-A3FA-88439A03CD18}"/>
          </ac:spMkLst>
        </pc:spChg>
      </pc:sldChg>
      <pc:sldChg chg="modSp">
        <pc:chgData name="Tripathy, Anita" userId="5d1ae7a5-c18d-413b-a5b5-4bb892e1411b" providerId="ADAL" clId="{5FBE3040-8FE5-4A58-B679-0EBB85F314FE}" dt="2020-09-30T10:37:47.154" v="128" actId="20577"/>
        <pc:sldMkLst>
          <pc:docMk/>
          <pc:sldMk cId="368838837" sldId="2126986421"/>
        </pc:sldMkLst>
        <pc:spChg chg="mod">
          <ac:chgData name="Tripathy, Anita" userId="5d1ae7a5-c18d-413b-a5b5-4bb892e1411b" providerId="ADAL" clId="{5FBE3040-8FE5-4A58-B679-0EBB85F314FE}" dt="2020-09-30T10:37:47.154" v="128" actId="20577"/>
          <ac:spMkLst>
            <pc:docMk/>
            <pc:sldMk cId="368838837" sldId="2126986421"/>
            <ac:spMk id="70" creationId="{FF576E59-FCEC-4DF7-9439-C0F41556EFBE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06113298337762"/>
          <c:y val="0.13608142732158468"/>
          <c:w val="0.81654894241161036"/>
          <c:h val="0.71261561054869427"/>
        </c:manualLayout>
      </c:layout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alpha val="50000"/>
              </a:schemeClr>
            </a:solidFill>
            <a:ln w="25400">
              <a:solidFill>
                <a:schemeClr val="bg1"/>
              </a:solidFill>
            </a:ln>
          </c:spP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B$2:$B$21</c:f>
              <c:numCache>
                <c:formatCode>General</c:formatCode>
                <c:ptCount val="20"/>
              </c:numCache>
            </c:numRef>
          </c:val>
          <c:extLst>
            <c:ext xmlns:c16="http://schemas.microsoft.com/office/drawing/2014/chart" uri="{C3380CC4-5D6E-409C-BE32-E72D297353CC}">
              <c16:uniqueId val="{00000000-0217-4162-9344-B1D70D8CA8E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12</c:v>
                </c:pt>
              </c:strCache>
            </c:strRef>
          </c:tx>
          <c:spPr>
            <a:solidFill>
              <a:schemeClr val="accent1">
                <a:alpha val="50000"/>
              </a:schemeClr>
            </a:solidFill>
            <a:ln w="25400">
              <a:solidFill>
                <a:schemeClr val="bg1"/>
              </a:solidFill>
            </a:ln>
          </c:spP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C$2:$C$21</c:f>
              <c:numCache>
                <c:formatCode>General</c:formatCode>
                <c:ptCount val="20"/>
              </c:numCache>
            </c:numRef>
          </c:val>
          <c:extLst>
            <c:ext xmlns:c16="http://schemas.microsoft.com/office/drawing/2014/chart" uri="{C3380CC4-5D6E-409C-BE32-E72D297353CC}">
              <c16:uniqueId val="{00000001-0217-4162-9344-B1D70D8CA8E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13</c:v>
                </c:pt>
              </c:strCache>
            </c:strRef>
          </c:tx>
          <c:spPr>
            <a:solidFill>
              <a:schemeClr val="accent1">
                <a:alpha val="50000"/>
              </a:schemeClr>
            </a:solidFill>
            <a:ln w="25400">
              <a:solidFill>
                <a:schemeClr val="bg1"/>
              </a:solidFill>
            </a:ln>
          </c:spP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D$2:$D$21</c:f>
              <c:numCache>
                <c:formatCode>General</c:formatCode>
                <c:ptCount val="20"/>
              </c:numCache>
            </c:numRef>
          </c:val>
          <c:extLst>
            <c:ext xmlns:c16="http://schemas.microsoft.com/office/drawing/2014/chart" uri="{C3380CC4-5D6E-409C-BE32-E72D297353CC}">
              <c16:uniqueId val="{00000002-0217-4162-9344-B1D70D8CA8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6992064"/>
        <c:axId val="746992456"/>
      </c:areaChart>
      <c:area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Series 2</c:v>
                </c:pt>
              </c:strCache>
            </c:strRef>
          </c:tx>
          <c:spPr>
            <a:noFill/>
            <a:ln>
              <a:noFill/>
            </a:ln>
          </c:spP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E$2:$E$21</c:f>
              <c:numCache>
                <c:formatCode>#,##0.00</c:formatCode>
                <c:ptCount val="20"/>
                <c:pt idx="0">
                  <c:v>0</c:v>
                </c:pt>
                <c:pt idx="1">
                  <c:v>0.1</c:v>
                </c:pt>
                <c:pt idx="2">
                  <c:v>0.17500000000000004</c:v>
                </c:pt>
                <c:pt idx="3">
                  <c:v>0.25</c:v>
                </c:pt>
                <c:pt idx="4">
                  <c:v>0.32500000000000318</c:v>
                </c:pt>
                <c:pt idx="5">
                  <c:v>0.4</c:v>
                </c:pt>
                <c:pt idx="6">
                  <c:v>0.47500000000000031</c:v>
                </c:pt>
                <c:pt idx="7">
                  <c:v>0.55000000000000004</c:v>
                </c:pt>
                <c:pt idx="8">
                  <c:v>0.62500000000000577</c:v>
                </c:pt>
                <c:pt idx="9">
                  <c:v>0.70000000000000062</c:v>
                </c:pt>
                <c:pt idx="10">
                  <c:v>0.77500000000000546</c:v>
                </c:pt>
                <c:pt idx="11">
                  <c:v>0.85000000000000064</c:v>
                </c:pt>
                <c:pt idx="12">
                  <c:v>0.92500000000000004</c:v>
                </c:pt>
                <c:pt idx="13">
                  <c:v>1</c:v>
                </c:pt>
                <c:pt idx="14">
                  <c:v>1.075</c:v>
                </c:pt>
                <c:pt idx="15">
                  <c:v>1.1499999999999873</c:v>
                </c:pt>
                <c:pt idx="16">
                  <c:v>1.2249999999999857</c:v>
                </c:pt>
                <c:pt idx="17">
                  <c:v>1.3</c:v>
                </c:pt>
                <c:pt idx="18">
                  <c:v>1.375</c:v>
                </c:pt>
                <c:pt idx="19">
                  <c:v>1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217-4162-9344-B1D70D8CA8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6993240"/>
        <c:axId val="746992848"/>
      </c:areaChart>
      <c:catAx>
        <c:axId val="746992064"/>
        <c:scaling>
          <c:orientation val="minMax"/>
        </c:scaling>
        <c:delete val="1"/>
        <c:axPos val="b"/>
        <c:numFmt formatCode="#,##0" sourceLinked="0"/>
        <c:majorTickMark val="out"/>
        <c:minorTickMark val="none"/>
        <c:tickLblPos val="none"/>
        <c:crossAx val="746992456"/>
        <c:crosses val="autoZero"/>
        <c:auto val="1"/>
        <c:lblAlgn val="ctr"/>
        <c:lblOffset val="100"/>
        <c:tickLblSkip val="1"/>
        <c:noMultiLvlLbl val="0"/>
      </c:catAx>
      <c:valAx>
        <c:axId val="746992456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one"/>
        <c:crossAx val="746992064"/>
        <c:crosses val="autoZero"/>
        <c:crossBetween val="midCat"/>
      </c:valAx>
      <c:valAx>
        <c:axId val="746992848"/>
        <c:scaling>
          <c:orientation val="minMax"/>
          <c:max val="1.6"/>
          <c:min val="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Value in $ bn.</a:t>
                </a:r>
              </a:p>
            </c:rich>
          </c:tx>
          <c:overlay val="0"/>
        </c:title>
        <c:numFmt formatCode="#,##0.0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46993240"/>
        <c:crosses val="max"/>
        <c:crossBetween val="midCat"/>
        <c:majorUnit val="0.30000000000000032"/>
      </c:valAx>
      <c:catAx>
        <c:axId val="7469932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746992848"/>
        <c:crosses val="autoZero"/>
        <c:auto val="1"/>
        <c:lblAlgn val="ctr"/>
        <c:lblOffset val="100"/>
        <c:noMultiLvlLbl val="0"/>
      </c:catAx>
    </c:plotArea>
    <c:plotVisOnly val="1"/>
    <c:dispBlanksAs val="zero"/>
    <c:showDLblsOverMax val="0"/>
  </c:chart>
  <c:txPr>
    <a:bodyPr/>
    <a:lstStyle/>
    <a:p>
      <a:pPr>
        <a:defRPr sz="1200" baseline="0">
          <a:solidFill>
            <a:schemeClr val="tx1"/>
          </a:solidFill>
          <a:latin typeface="Arial" panose="020B0604020202020204" pitchFamily="34" charset="0"/>
          <a:ea typeface="Verdana" pitchFamily="34" charset="0"/>
          <a:cs typeface="Verdana" pitchFamily="3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098949981356264E-2"/>
          <c:y val="0.13608142732158468"/>
          <c:w val="0.82745463901458327"/>
          <c:h val="0.71616828513728958"/>
        </c:manualLayout>
      </c:layout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 w="25400">
              <a:solidFill>
                <a:schemeClr val="bg1"/>
              </a:solidFill>
            </a:ln>
          </c:spP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7500</c:v>
                </c:pt>
                <c:pt idx="1">
                  <c:v>6750</c:v>
                </c:pt>
                <c:pt idx="2">
                  <c:v>5900</c:v>
                </c:pt>
                <c:pt idx="3">
                  <c:v>4900</c:v>
                </c:pt>
                <c:pt idx="4">
                  <c:v>3750</c:v>
                </c:pt>
                <c:pt idx="5">
                  <c:v>2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06-4F7B-9BAE-0DA837E89F3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12</c:v>
                </c:pt>
              </c:strCache>
            </c:strRef>
          </c:tx>
          <c:spPr>
            <a:noFill/>
            <a:ln w="25400">
              <a:noFill/>
            </a:ln>
          </c:spP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C$2:$C$21</c:f>
              <c:numCache>
                <c:formatCode>General</c:formatCode>
                <c:ptCount val="20"/>
                <c:pt idx="5">
                  <c:v>2500</c:v>
                </c:pt>
                <c:pt idx="6">
                  <c:v>2500</c:v>
                </c:pt>
                <c:pt idx="7">
                  <c:v>2400</c:v>
                </c:pt>
                <c:pt idx="8">
                  <c:v>2300</c:v>
                </c:pt>
                <c:pt idx="9">
                  <c:v>2200</c:v>
                </c:pt>
                <c:pt idx="10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06-4F7B-9BAE-0DA837E89F3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13</c:v>
                </c:pt>
              </c:strCache>
            </c:strRef>
          </c:tx>
          <c:spPr>
            <a:noFill/>
            <a:ln w="25400">
              <a:solidFill>
                <a:schemeClr val="bg1"/>
              </a:solidFill>
            </a:ln>
          </c:spPr>
          <c:cat>
            <c:numRef>
              <c:f>Sheet1!$A$2:$A$21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</c:numCache>
            </c:numRef>
          </c:cat>
          <c:val>
            <c:numRef>
              <c:f>Sheet1!$D$2:$D$21</c:f>
              <c:numCache>
                <c:formatCode>General</c:formatCode>
                <c:ptCount val="20"/>
                <c:pt idx="10">
                  <c:v>2000</c:v>
                </c:pt>
                <c:pt idx="11">
                  <c:v>1500</c:v>
                </c:pt>
                <c:pt idx="12">
                  <c:v>1000</c:v>
                </c:pt>
                <c:pt idx="13">
                  <c:v>50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06-4F7B-9BAE-0DA837E89F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6994024"/>
        <c:axId val="746994416"/>
      </c:areaChart>
      <c:catAx>
        <c:axId val="74699402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Years</a:t>
                </a:r>
              </a:p>
            </c:rich>
          </c:tx>
          <c:overlay val="0"/>
        </c:title>
        <c:numFmt formatCode="#,##0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46994416"/>
        <c:crosses val="autoZero"/>
        <c:auto val="1"/>
        <c:lblAlgn val="ctr"/>
        <c:lblOffset val="100"/>
        <c:tickLblSkip val="1"/>
        <c:noMultiLvlLbl val="0"/>
      </c:catAx>
      <c:valAx>
        <c:axId val="746994416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# of compounds</a:t>
                </a:r>
              </a:p>
            </c:rich>
          </c:tx>
          <c:layout>
            <c:manualLayout>
              <c:xMode val="edge"/>
              <c:yMode val="edge"/>
              <c:x val="1.0554946369871858E-3"/>
              <c:y val="0.31650637420322847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746994024"/>
        <c:crosses val="autoZero"/>
        <c:crossBetween val="midCat"/>
      </c:valAx>
    </c:plotArea>
    <c:plotVisOnly val="1"/>
    <c:dispBlanksAs val="zero"/>
    <c:showDLblsOverMax val="0"/>
  </c:chart>
  <c:txPr>
    <a:bodyPr/>
    <a:lstStyle/>
    <a:p>
      <a:pPr>
        <a:defRPr sz="1200" baseline="0">
          <a:solidFill>
            <a:schemeClr val="tx1"/>
          </a:solidFill>
          <a:latin typeface="Arial" panose="020B0604020202020204" pitchFamily="34" charset="0"/>
          <a:ea typeface="Verdana" pitchFamily="34" charset="0"/>
          <a:cs typeface="Verdana" pitchFamily="34" charset="0"/>
        </a:defRPr>
      </a:pPr>
      <a:endParaRPr lang="en-US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E7B92D-6AE4-49F3-B5B8-4FFEDEB4A8A2}" type="doc">
      <dgm:prSet loTypeId="urn:microsoft.com/office/officeart/2011/layout/HexagonRadial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C69F7D2-E2E2-43A7-AF64-64790F748893}">
      <dgm:prSet phldrT="[Text]" custT="1"/>
      <dgm:spPr>
        <a:blipFill rotWithShape="0">
          <a:blip xmlns:r="http://schemas.openxmlformats.org/officeDocument/2006/relationships" r:embed="rId1">
            <a:duotone>
              <a:schemeClr val="accent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</a:blip>
          <a:srcRect/>
          <a:stretch>
            <a:fillRect t="-6000" b="-6000"/>
          </a:stretch>
        </a:blipFill>
      </dgm:spPr>
      <dgm:t>
        <a:bodyPr spcFirstLastPara="0" vert="horz" wrap="square" lIns="35560" tIns="35560" rIns="35560" bIns="35560" numCol="1" spcCol="1270" anchor="ctr" anchorCtr="0"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</dgm:t>
    </dgm:pt>
    <dgm:pt modelId="{85BC0E39-EAA6-4750-900F-1FEB659E4CED}" type="parTrans" cxnId="{F1256F32-A741-4FDD-9939-1288CC327663}">
      <dgm:prSet/>
      <dgm:spPr/>
      <dgm:t>
        <a:bodyPr/>
        <a:lstStyle/>
        <a:p>
          <a:endParaRPr lang="en-US" sz="1400"/>
        </a:p>
      </dgm:t>
    </dgm:pt>
    <dgm:pt modelId="{7B7B2AFE-6C34-46C2-A942-DD0D7CCF25D8}" type="sibTrans" cxnId="{F1256F32-A741-4FDD-9939-1288CC327663}">
      <dgm:prSet/>
      <dgm:spPr/>
      <dgm:t>
        <a:bodyPr/>
        <a:lstStyle/>
        <a:p>
          <a:endParaRPr lang="en-US" sz="1400"/>
        </a:p>
      </dgm:t>
    </dgm:pt>
    <dgm:pt modelId="{A8CFD871-C329-4DED-9520-F51114790A00}">
      <dgm:prSet phldrT="[Text]" custT="1"/>
      <dgm:spPr>
        <a:solidFill>
          <a:srgbClr val="43B02A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5560" tIns="35560" rIns="35560" bIns="35560" numCol="1" spcCol="1270" anchor="ctr" anchorCtr="0"/>
        <a:lstStyle/>
        <a:p>
          <a:pPr algn="l"/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Transparent</a:t>
          </a:r>
        </a:p>
      </dgm:t>
    </dgm:pt>
    <dgm:pt modelId="{6CCBABFE-98FE-4AE4-A7AE-6D7EEC18FFD3}" type="parTrans" cxnId="{337D34D3-7BBB-4C04-89B9-3360653A68BD}">
      <dgm:prSet/>
      <dgm:spPr/>
      <dgm:t>
        <a:bodyPr/>
        <a:lstStyle/>
        <a:p>
          <a:endParaRPr lang="en-US" sz="1400"/>
        </a:p>
      </dgm:t>
    </dgm:pt>
    <dgm:pt modelId="{7745C38E-24C6-463F-B4D7-DF197ED228AD}" type="sibTrans" cxnId="{337D34D3-7BBB-4C04-89B9-3360653A68BD}">
      <dgm:prSet/>
      <dgm:spPr/>
      <dgm:t>
        <a:bodyPr/>
        <a:lstStyle/>
        <a:p>
          <a:endParaRPr lang="en-US" sz="1400"/>
        </a:p>
      </dgm:t>
    </dgm:pt>
    <dgm:pt modelId="{C876F874-2D8F-483C-807E-6AE7F6C38ED5}">
      <dgm:prSet phldrT="[Text]" custT="1"/>
      <dgm:spPr/>
      <dgm:t>
        <a:bodyPr/>
        <a:lstStyle/>
        <a:p>
          <a:r>
            <a:rPr lang="en-US" sz="1200" b="1" dirty="0"/>
            <a:t>Empowered</a:t>
          </a:r>
        </a:p>
      </dgm:t>
    </dgm:pt>
    <dgm:pt modelId="{183AA8E3-F587-4EDE-BB27-2FDBECDFB646}" type="parTrans" cxnId="{29C48C3A-792B-4E10-BFF7-4D70BBF877F9}">
      <dgm:prSet/>
      <dgm:spPr/>
      <dgm:t>
        <a:bodyPr/>
        <a:lstStyle/>
        <a:p>
          <a:endParaRPr lang="en-US" sz="1400"/>
        </a:p>
      </dgm:t>
    </dgm:pt>
    <dgm:pt modelId="{1B6BA3A2-3005-4633-8BD5-A83BFD0F9C82}" type="sibTrans" cxnId="{29C48C3A-792B-4E10-BFF7-4D70BBF877F9}">
      <dgm:prSet/>
      <dgm:spPr/>
      <dgm:t>
        <a:bodyPr/>
        <a:lstStyle/>
        <a:p>
          <a:endParaRPr lang="en-US" sz="1400"/>
        </a:p>
      </dgm:t>
    </dgm:pt>
    <dgm:pt modelId="{4621691C-3981-4090-B611-E80ADEEF97B5}">
      <dgm:prSet phldrT="[Text]" custT="1"/>
      <dgm:spPr/>
      <dgm:t>
        <a:bodyPr/>
        <a:lstStyle/>
        <a:p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Quality</a:t>
          </a:r>
          <a:r>
            <a:rPr lang="en-US" sz="2400" b="1" kern="1200" dirty="0"/>
            <a:t> </a:t>
          </a: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of</a:t>
          </a:r>
          <a:r>
            <a:rPr lang="en-US" sz="2400" b="1" kern="1200" dirty="0"/>
            <a:t> </a:t>
          </a: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Care</a:t>
          </a:r>
        </a:p>
      </dgm:t>
    </dgm:pt>
    <dgm:pt modelId="{A5C256D2-8719-42AA-B189-6BFD7AE37F83}" type="parTrans" cxnId="{CF90377D-6F85-41F6-84F5-869CC85AAEA2}">
      <dgm:prSet/>
      <dgm:spPr/>
      <dgm:t>
        <a:bodyPr/>
        <a:lstStyle/>
        <a:p>
          <a:endParaRPr lang="en-US" sz="1400"/>
        </a:p>
      </dgm:t>
    </dgm:pt>
    <dgm:pt modelId="{80AA0E59-8C48-4C74-9C81-30D8ED681AEE}" type="sibTrans" cxnId="{CF90377D-6F85-41F6-84F5-869CC85AAEA2}">
      <dgm:prSet/>
      <dgm:spPr/>
      <dgm:t>
        <a:bodyPr/>
        <a:lstStyle/>
        <a:p>
          <a:endParaRPr lang="en-US" sz="1400"/>
        </a:p>
      </dgm:t>
    </dgm:pt>
    <dgm:pt modelId="{8C4FC33A-17A2-4C33-AB80-050724D38AD6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Ease</a:t>
          </a:r>
          <a:r>
            <a:rPr lang="en-US" sz="2400" b="1" kern="1200" dirty="0"/>
            <a:t> </a:t>
          </a: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of</a:t>
          </a:r>
          <a:r>
            <a:rPr lang="en-US" sz="2400" b="1" kern="1200" dirty="0"/>
            <a:t> </a:t>
          </a: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Participation</a:t>
          </a:r>
        </a:p>
      </dgm:t>
    </dgm:pt>
    <dgm:pt modelId="{9566017F-900F-4075-99CF-70B66F711137}" type="parTrans" cxnId="{0810B913-8108-4898-940E-D4D25A02F255}">
      <dgm:prSet/>
      <dgm:spPr/>
      <dgm:t>
        <a:bodyPr/>
        <a:lstStyle/>
        <a:p>
          <a:endParaRPr lang="en-US" sz="1400"/>
        </a:p>
      </dgm:t>
    </dgm:pt>
    <dgm:pt modelId="{677722E4-F53B-4FFA-A459-DE936D0D268B}" type="sibTrans" cxnId="{0810B913-8108-4898-940E-D4D25A02F255}">
      <dgm:prSet/>
      <dgm:spPr/>
      <dgm:t>
        <a:bodyPr/>
        <a:lstStyle/>
        <a:p>
          <a:endParaRPr lang="en-US" sz="1400"/>
        </a:p>
      </dgm:t>
    </dgm:pt>
    <dgm:pt modelId="{241C3EF9-3548-4711-8E70-730E47A89A34}">
      <dgm:prSet phldrT="[Text]" custT="1"/>
      <dgm:spPr/>
      <dgm:t>
        <a:bodyPr/>
        <a:lstStyle/>
        <a:p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Better</a:t>
          </a:r>
          <a:r>
            <a:rPr lang="en-US" sz="2400" b="1" kern="1200" dirty="0"/>
            <a:t> </a:t>
          </a: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Outcomes</a:t>
          </a:r>
        </a:p>
      </dgm:t>
    </dgm:pt>
    <dgm:pt modelId="{4C782B71-62C5-4D32-A8A4-080B9A6FCC51}" type="parTrans" cxnId="{7DA2D3C2-17E2-45B6-97FC-1E50B72A7D13}">
      <dgm:prSet/>
      <dgm:spPr/>
      <dgm:t>
        <a:bodyPr/>
        <a:lstStyle/>
        <a:p>
          <a:endParaRPr lang="en-US" sz="1400"/>
        </a:p>
      </dgm:t>
    </dgm:pt>
    <dgm:pt modelId="{4C50894E-3AEB-4D04-AD83-6D32A3F7A47C}" type="sibTrans" cxnId="{7DA2D3C2-17E2-45B6-97FC-1E50B72A7D13}">
      <dgm:prSet/>
      <dgm:spPr/>
      <dgm:t>
        <a:bodyPr/>
        <a:lstStyle/>
        <a:p>
          <a:endParaRPr lang="en-US" sz="1400"/>
        </a:p>
      </dgm:t>
    </dgm:pt>
    <dgm:pt modelId="{67D50940-4C54-4D1D-B175-52AC55ED084D}">
      <dgm:prSet phldrT="[Text]" custT="1"/>
      <dgm:spPr>
        <a:solidFill>
          <a:srgbClr val="43B02A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5560" tIns="35560" rIns="35560" bIns="35560" numCol="1" spcCol="1270" anchor="ctr" anchorCtr="0"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Informed</a:t>
          </a:r>
        </a:p>
      </dgm:t>
    </dgm:pt>
    <dgm:pt modelId="{C88C9D75-7B8F-4FC5-B1DC-2D5663952908}" type="parTrans" cxnId="{6523A167-37D3-4193-BF62-A92F0529E47B}">
      <dgm:prSet/>
      <dgm:spPr/>
      <dgm:t>
        <a:bodyPr/>
        <a:lstStyle/>
        <a:p>
          <a:endParaRPr lang="en-US" sz="1400"/>
        </a:p>
      </dgm:t>
    </dgm:pt>
    <dgm:pt modelId="{D92A52A8-2962-4E7E-AF9A-B180EB360378}" type="sibTrans" cxnId="{6523A167-37D3-4193-BF62-A92F0529E47B}">
      <dgm:prSet/>
      <dgm:spPr/>
      <dgm:t>
        <a:bodyPr/>
        <a:lstStyle/>
        <a:p>
          <a:endParaRPr lang="en-US" sz="1400"/>
        </a:p>
      </dgm:t>
    </dgm:pt>
    <dgm:pt modelId="{31CEBAAE-EA95-42BA-9E11-6AEBFE7301F2}">
      <dgm:prSet/>
      <dgm:spPr/>
      <dgm:t>
        <a:bodyPr/>
        <a:lstStyle/>
        <a:p>
          <a:endParaRPr lang="en-US" sz="1400"/>
        </a:p>
      </dgm:t>
    </dgm:pt>
    <dgm:pt modelId="{2B92E568-8269-42BE-AD6F-2872DAF7DBAD}" type="parTrans" cxnId="{D7CE6FEA-9B10-4767-8EB2-27E148DA4600}">
      <dgm:prSet/>
      <dgm:spPr/>
      <dgm:t>
        <a:bodyPr/>
        <a:lstStyle/>
        <a:p>
          <a:endParaRPr lang="en-US" sz="1400"/>
        </a:p>
      </dgm:t>
    </dgm:pt>
    <dgm:pt modelId="{D03CC666-5883-4743-9BC8-3BB76FC89A02}" type="sibTrans" cxnId="{D7CE6FEA-9B10-4767-8EB2-27E148DA4600}">
      <dgm:prSet/>
      <dgm:spPr/>
      <dgm:t>
        <a:bodyPr/>
        <a:lstStyle/>
        <a:p>
          <a:endParaRPr lang="en-US" sz="1400"/>
        </a:p>
      </dgm:t>
    </dgm:pt>
    <dgm:pt modelId="{9A3D1FDA-17B7-4104-8309-7DF743B0A66E}">
      <dgm:prSet/>
      <dgm:spPr/>
      <dgm:t>
        <a:bodyPr/>
        <a:lstStyle/>
        <a:p>
          <a:endParaRPr lang="en-US" sz="1400"/>
        </a:p>
      </dgm:t>
    </dgm:pt>
    <dgm:pt modelId="{6DBFE01B-5FAD-4A4D-A232-68B46083D2F7}" type="parTrans" cxnId="{DE87142B-D1AB-492B-9CC5-009CE3030223}">
      <dgm:prSet/>
      <dgm:spPr/>
      <dgm:t>
        <a:bodyPr/>
        <a:lstStyle/>
        <a:p>
          <a:endParaRPr lang="en-US" sz="1400"/>
        </a:p>
      </dgm:t>
    </dgm:pt>
    <dgm:pt modelId="{1697417B-D626-4D70-8C45-9BD6F9287D84}" type="sibTrans" cxnId="{DE87142B-D1AB-492B-9CC5-009CE3030223}">
      <dgm:prSet/>
      <dgm:spPr/>
      <dgm:t>
        <a:bodyPr/>
        <a:lstStyle/>
        <a:p>
          <a:endParaRPr lang="en-US" sz="1400"/>
        </a:p>
      </dgm:t>
    </dgm:pt>
    <dgm:pt modelId="{E6FA7C20-1B95-4E8B-BDF4-AFB55DAFB444}">
      <dgm:prSet/>
      <dgm:spPr/>
      <dgm:t>
        <a:bodyPr/>
        <a:lstStyle/>
        <a:p>
          <a:endParaRPr lang="en-US" sz="1400"/>
        </a:p>
      </dgm:t>
    </dgm:pt>
    <dgm:pt modelId="{550B4B98-7504-43B6-8E81-378AD1EBBC70}" type="parTrans" cxnId="{8AE3E945-C1FC-4E84-B9DB-5B8762D64314}">
      <dgm:prSet/>
      <dgm:spPr/>
      <dgm:t>
        <a:bodyPr/>
        <a:lstStyle/>
        <a:p>
          <a:endParaRPr lang="en-US" sz="1400"/>
        </a:p>
      </dgm:t>
    </dgm:pt>
    <dgm:pt modelId="{2A40E1C9-2A18-4248-8244-81D5B60505CC}" type="sibTrans" cxnId="{8AE3E945-C1FC-4E84-B9DB-5B8762D64314}">
      <dgm:prSet/>
      <dgm:spPr/>
      <dgm:t>
        <a:bodyPr/>
        <a:lstStyle/>
        <a:p>
          <a:endParaRPr lang="en-US" sz="1400"/>
        </a:p>
      </dgm:t>
    </dgm:pt>
    <dgm:pt modelId="{71301731-6B72-40F3-99A5-0DF7697F9336}">
      <dgm:prSet/>
      <dgm:spPr/>
      <dgm:t>
        <a:bodyPr/>
        <a:lstStyle/>
        <a:p>
          <a:endParaRPr lang="en-US" sz="1400"/>
        </a:p>
      </dgm:t>
    </dgm:pt>
    <dgm:pt modelId="{BE87FB55-A25F-41B8-8C2C-F9F73CF70E95}" type="parTrans" cxnId="{AD3C816C-F9EB-4983-9DE7-FF3527498957}">
      <dgm:prSet/>
      <dgm:spPr/>
      <dgm:t>
        <a:bodyPr/>
        <a:lstStyle/>
        <a:p>
          <a:endParaRPr lang="en-US" sz="1400"/>
        </a:p>
      </dgm:t>
    </dgm:pt>
    <dgm:pt modelId="{837BC256-C8E7-46DD-81F5-7E05E0B21893}" type="sibTrans" cxnId="{AD3C816C-F9EB-4983-9DE7-FF3527498957}">
      <dgm:prSet/>
      <dgm:spPr/>
      <dgm:t>
        <a:bodyPr/>
        <a:lstStyle/>
        <a:p>
          <a:endParaRPr lang="en-US" sz="1400"/>
        </a:p>
      </dgm:t>
    </dgm:pt>
    <dgm:pt modelId="{8A679B52-E50B-4A59-B1FA-D11B03AFB9B4}">
      <dgm:prSet/>
      <dgm:spPr/>
      <dgm:t>
        <a:bodyPr/>
        <a:lstStyle/>
        <a:p>
          <a:endParaRPr lang="en-US" sz="1400"/>
        </a:p>
      </dgm:t>
    </dgm:pt>
    <dgm:pt modelId="{D3908E33-7F2A-4124-9167-E3FCDB028138}" type="parTrans" cxnId="{FFA3785E-3D46-4AE4-B9BA-EA410088BA23}">
      <dgm:prSet/>
      <dgm:spPr/>
      <dgm:t>
        <a:bodyPr/>
        <a:lstStyle/>
        <a:p>
          <a:endParaRPr lang="en-US" sz="1400"/>
        </a:p>
      </dgm:t>
    </dgm:pt>
    <dgm:pt modelId="{BC86EAAB-4250-4965-ABCE-C6154877E69A}" type="sibTrans" cxnId="{FFA3785E-3D46-4AE4-B9BA-EA410088BA23}">
      <dgm:prSet/>
      <dgm:spPr/>
      <dgm:t>
        <a:bodyPr/>
        <a:lstStyle/>
        <a:p>
          <a:endParaRPr lang="en-US" sz="1400"/>
        </a:p>
      </dgm:t>
    </dgm:pt>
    <dgm:pt modelId="{545FAF9C-F6CA-4896-A427-8C1630833F59}" type="pres">
      <dgm:prSet presAssocID="{10E7B92D-6AE4-49F3-B5B8-4FFEDEB4A8A2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B707A6EE-E447-4B5C-9DC2-54D41A944A8F}" type="pres">
      <dgm:prSet presAssocID="{2C69F7D2-E2E2-43A7-AF64-64790F748893}" presName="Parent" presStyleLbl="node0" presStyleIdx="0" presStyleCnt="1">
        <dgm:presLayoutVars>
          <dgm:chMax val="6"/>
          <dgm:chPref val="6"/>
        </dgm:presLayoutVars>
      </dgm:prSet>
      <dgm:spPr/>
    </dgm:pt>
    <dgm:pt modelId="{1486A91E-0245-4053-852C-936E8911CADC}" type="pres">
      <dgm:prSet presAssocID="{A8CFD871-C329-4DED-9520-F51114790A00}" presName="Accent1" presStyleCnt="0"/>
      <dgm:spPr/>
    </dgm:pt>
    <dgm:pt modelId="{D0070F46-B5D3-4EAE-8800-E84EBABCDCD3}" type="pres">
      <dgm:prSet presAssocID="{A8CFD871-C329-4DED-9520-F51114790A00}" presName="Accent" presStyleLbl="bgShp" presStyleIdx="0" presStyleCnt="6"/>
      <dgm:spPr/>
    </dgm:pt>
    <dgm:pt modelId="{A12A4807-7717-4A8E-9993-26494D0278DE}" type="pres">
      <dgm:prSet presAssocID="{A8CFD871-C329-4DED-9520-F51114790A00}" presName="Child1" presStyleLbl="node1" presStyleIdx="0" presStyleCnt="6" custScaleX="103699" custLinFactNeighborX="-245" custLinFactNeighborY="636">
        <dgm:presLayoutVars>
          <dgm:chMax val="0"/>
          <dgm:chPref val="0"/>
          <dgm:bulletEnabled val="1"/>
        </dgm:presLayoutVars>
      </dgm:prSet>
      <dgm:spPr>
        <a:xfrm>
          <a:off x="3718581" y="7707"/>
          <a:ext cx="1400848" cy="1211898"/>
        </a:xfrm>
        <a:prstGeom prst="hexagon">
          <a:avLst>
            <a:gd name="adj" fmla="val 28570"/>
            <a:gd name="vf" fmla="val 115470"/>
          </a:avLst>
        </a:prstGeom>
      </dgm:spPr>
    </dgm:pt>
    <dgm:pt modelId="{9B994C1F-1D39-46A7-927D-ABEA3AB5C705}" type="pres">
      <dgm:prSet presAssocID="{C876F874-2D8F-483C-807E-6AE7F6C38ED5}" presName="Accent2" presStyleCnt="0"/>
      <dgm:spPr/>
    </dgm:pt>
    <dgm:pt modelId="{6EE3ADB0-217C-41F5-B53B-21A75559013A}" type="pres">
      <dgm:prSet presAssocID="{C876F874-2D8F-483C-807E-6AE7F6C38ED5}" presName="Accent" presStyleLbl="bgShp" presStyleIdx="1" presStyleCnt="6"/>
      <dgm:spPr/>
    </dgm:pt>
    <dgm:pt modelId="{8234E8A3-ACDB-4810-96FB-EB7CEF262CBC}" type="pres">
      <dgm:prSet presAssocID="{C876F874-2D8F-483C-807E-6AE7F6C38ED5}" presName="Child2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058E559F-37FC-408E-AA08-17C3739DB144}" type="pres">
      <dgm:prSet presAssocID="{4621691C-3981-4090-B611-E80ADEEF97B5}" presName="Accent3" presStyleCnt="0"/>
      <dgm:spPr/>
    </dgm:pt>
    <dgm:pt modelId="{C6471054-1021-43BF-9065-490C0BEEEC42}" type="pres">
      <dgm:prSet presAssocID="{4621691C-3981-4090-B611-E80ADEEF97B5}" presName="Accent" presStyleLbl="bgShp" presStyleIdx="2" presStyleCnt="6"/>
      <dgm:spPr/>
    </dgm:pt>
    <dgm:pt modelId="{6C54352B-60C7-432A-9CFA-899078ADA639}" type="pres">
      <dgm:prSet presAssocID="{4621691C-3981-4090-B611-E80ADEEF97B5}" presName="Child3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8B48F45E-8B5E-4F91-9CD7-95D0B1394480}" type="pres">
      <dgm:prSet presAssocID="{8C4FC33A-17A2-4C33-AB80-050724D38AD6}" presName="Accent4" presStyleCnt="0"/>
      <dgm:spPr/>
    </dgm:pt>
    <dgm:pt modelId="{F073EB84-04EA-4D5C-8A68-A96813FB1553}" type="pres">
      <dgm:prSet presAssocID="{8C4FC33A-17A2-4C33-AB80-050724D38AD6}" presName="Accent" presStyleLbl="bgShp" presStyleIdx="3" presStyleCnt="6"/>
      <dgm:spPr/>
    </dgm:pt>
    <dgm:pt modelId="{6F762F99-8CB0-4F01-B8E8-98828D00B253}" type="pres">
      <dgm:prSet presAssocID="{8C4FC33A-17A2-4C33-AB80-050724D38AD6}" presName="Child4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BA7C249D-45BA-4BC1-AA6F-30DB65E5ADB8}" type="pres">
      <dgm:prSet presAssocID="{241C3EF9-3548-4711-8E70-730E47A89A34}" presName="Accent5" presStyleCnt="0"/>
      <dgm:spPr/>
    </dgm:pt>
    <dgm:pt modelId="{057B56E3-FEA5-4E84-90C3-167772E6041A}" type="pres">
      <dgm:prSet presAssocID="{241C3EF9-3548-4711-8E70-730E47A89A34}" presName="Accent" presStyleLbl="bgShp" presStyleIdx="4" presStyleCnt="6"/>
      <dgm:spPr/>
    </dgm:pt>
    <dgm:pt modelId="{FEE86449-D62E-4029-915D-3B06F9245245}" type="pres">
      <dgm:prSet presAssocID="{241C3EF9-3548-4711-8E70-730E47A89A34}" presName="Child5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D9257EC7-E9F2-4C81-8273-D809AD04BC5F}" type="pres">
      <dgm:prSet presAssocID="{67D50940-4C54-4D1D-B175-52AC55ED084D}" presName="Accent6" presStyleCnt="0"/>
      <dgm:spPr/>
    </dgm:pt>
    <dgm:pt modelId="{7F8CBE95-E259-4935-81BE-D8B6432AC11D}" type="pres">
      <dgm:prSet presAssocID="{67D50940-4C54-4D1D-B175-52AC55ED084D}" presName="Accent" presStyleLbl="bgShp" presStyleIdx="5" presStyleCnt="6"/>
      <dgm:spPr/>
    </dgm:pt>
    <dgm:pt modelId="{86356C16-8EE4-4B5D-8D41-5B6337BA3410}" type="pres">
      <dgm:prSet presAssocID="{67D50940-4C54-4D1D-B175-52AC55ED084D}" presName="Child6" presStyleLbl="node1" presStyleIdx="5" presStyleCnt="6">
        <dgm:presLayoutVars>
          <dgm:chMax val="0"/>
          <dgm:chPref val="0"/>
          <dgm:bulletEnabled val="1"/>
        </dgm:presLayoutVars>
      </dgm:prSet>
      <dgm:spPr>
        <a:xfrm>
          <a:off x="6830091" y="1686896"/>
          <a:ext cx="3177338" cy="2748770"/>
        </a:xfrm>
        <a:prstGeom prst="hexagon">
          <a:avLst>
            <a:gd name="adj" fmla="val 28570"/>
            <a:gd name="vf" fmla="val 115470"/>
          </a:avLst>
        </a:prstGeom>
      </dgm:spPr>
    </dgm:pt>
  </dgm:ptLst>
  <dgm:cxnLst>
    <dgm:cxn modelId="{7253B109-3C12-4828-B36E-24CDF88ECC97}" type="presOf" srcId="{8C4FC33A-17A2-4C33-AB80-050724D38AD6}" destId="{6F762F99-8CB0-4F01-B8E8-98828D00B253}" srcOrd="0" destOrd="0" presId="urn:microsoft.com/office/officeart/2011/layout/HexagonRadial"/>
    <dgm:cxn modelId="{0810B913-8108-4898-940E-D4D25A02F255}" srcId="{2C69F7D2-E2E2-43A7-AF64-64790F748893}" destId="{8C4FC33A-17A2-4C33-AB80-050724D38AD6}" srcOrd="3" destOrd="0" parTransId="{9566017F-900F-4075-99CF-70B66F711137}" sibTransId="{677722E4-F53B-4FFA-A459-DE936D0D268B}"/>
    <dgm:cxn modelId="{DE87142B-D1AB-492B-9CC5-009CE3030223}" srcId="{10E7B92D-6AE4-49F3-B5B8-4FFEDEB4A8A2}" destId="{9A3D1FDA-17B7-4104-8309-7DF743B0A66E}" srcOrd="2" destOrd="0" parTransId="{6DBFE01B-5FAD-4A4D-A232-68B46083D2F7}" sibTransId="{1697417B-D626-4D70-8C45-9BD6F9287D84}"/>
    <dgm:cxn modelId="{F1256F32-A741-4FDD-9939-1288CC327663}" srcId="{10E7B92D-6AE4-49F3-B5B8-4FFEDEB4A8A2}" destId="{2C69F7D2-E2E2-43A7-AF64-64790F748893}" srcOrd="0" destOrd="0" parTransId="{85BC0E39-EAA6-4750-900F-1FEB659E4CED}" sibTransId="{7B7B2AFE-6C34-46C2-A942-DD0D7CCF25D8}"/>
    <dgm:cxn modelId="{29C48C3A-792B-4E10-BFF7-4D70BBF877F9}" srcId="{2C69F7D2-E2E2-43A7-AF64-64790F748893}" destId="{C876F874-2D8F-483C-807E-6AE7F6C38ED5}" srcOrd="1" destOrd="0" parTransId="{183AA8E3-F587-4EDE-BB27-2FDBECDFB646}" sibTransId="{1B6BA3A2-3005-4633-8BD5-A83BFD0F9C82}"/>
    <dgm:cxn modelId="{FFA3785E-3D46-4AE4-B9BA-EA410088BA23}" srcId="{10E7B92D-6AE4-49F3-B5B8-4FFEDEB4A8A2}" destId="{8A679B52-E50B-4A59-B1FA-D11B03AFB9B4}" srcOrd="5" destOrd="0" parTransId="{D3908E33-7F2A-4124-9167-E3FCDB028138}" sibTransId="{BC86EAAB-4250-4965-ABCE-C6154877E69A}"/>
    <dgm:cxn modelId="{8AE3E945-C1FC-4E84-B9DB-5B8762D64314}" srcId="{10E7B92D-6AE4-49F3-B5B8-4FFEDEB4A8A2}" destId="{E6FA7C20-1B95-4E8B-BDF4-AFB55DAFB444}" srcOrd="3" destOrd="0" parTransId="{550B4B98-7504-43B6-8E81-378AD1EBBC70}" sibTransId="{2A40E1C9-2A18-4248-8244-81D5B60505CC}"/>
    <dgm:cxn modelId="{6523A167-37D3-4193-BF62-A92F0529E47B}" srcId="{2C69F7D2-E2E2-43A7-AF64-64790F748893}" destId="{67D50940-4C54-4D1D-B175-52AC55ED084D}" srcOrd="5" destOrd="0" parTransId="{C88C9D75-7B8F-4FC5-B1DC-2D5663952908}" sibTransId="{D92A52A8-2962-4E7E-AF9A-B180EB360378}"/>
    <dgm:cxn modelId="{AD3C816C-F9EB-4983-9DE7-FF3527498957}" srcId="{10E7B92D-6AE4-49F3-B5B8-4FFEDEB4A8A2}" destId="{71301731-6B72-40F3-99A5-0DF7697F9336}" srcOrd="4" destOrd="0" parTransId="{BE87FB55-A25F-41B8-8C2C-F9F73CF70E95}" sibTransId="{837BC256-C8E7-46DD-81F5-7E05E0B21893}"/>
    <dgm:cxn modelId="{30C75C4E-C8E0-4035-8002-8022298D3DCD}" type="presOf" srcId="{A8CFD871-C329-4DED-9520-F51114790A00}" destId="{A12A4807-7717-4A8E-9993-26494D0278DE}" srcOrd="0" destOrd="0" presId="urn:microsoft.com/office/officeart/2011/layout/HexagonRadial"/>
    <dgm:cxn modelId="{58105E75-69CB-4924-9DA0-BD48BE10AC6E}" type="presOf" srcId="{4621691C-3981-4090-B611-E80ADEEF97B5}" destId="{6C54352B-60C7-432A-9CFA-899078ADA639}" srcOrd="0" destOrd="0" presId="urn:microsoft.com/office/officeart/2011/layout/HexagonRadial"/>
    <dgm:cxn modelId="{CF90377D-6F85-41F6-84F5-869CC85AAEA2}" srcId="{2C69F7D2-E2E2-43A7-AF64-64790F748893}" destId="{4621691C-3981-4090-B611-E80ADEEF97B5}" srcOrd="2" destOrd="0" parTransId="{A5C256D2-8719-42AA-B189-6BFD7AE37F83}" sibTransId="{80AA0E59-8C48-4C74-9C81-30D8ED681AEE}"/>
    <dgm:cxn modelId="{7437B48D-10D7-4488-AAB3-3D8A1777C6C1}" type="presOf" srcId="{C876F874-2D8F-483C-807E-6AE7F6C38ED5}" destId="{8234E8A3-ACDB-4810-96FB-EB7CEF262CBC}" srcOrd="0" destOrd="0" presId="urn:microsoft.com/office/officeart/2011/layout/HexagonRadial"/>
    <dgm:cxn modelId="{51FF4C91-86A7-4AFE-9678-610AADF4DB7E}" type="presOf" srcId="{10E7B92D-6AE4-49F3-B5B8-4FFEDEB4A8A2}" destId="{545FAF9C-F6CA-4896-A427-8C1630833F59}" srcOrd="0" destOrd="0" presId="urn:microsoft.com/office/officeart/2011/layout/HexagonRadial"/>
    <dgm:cxn modelId="{7DA2D3C2-17E2-45B6-97FC-1E50B72A7D13}" srcId="{2C69F7D2-E2E2-43A7-AF64-64790F748893}" destId="{241C3EF9-3548-4711-8E70-730E47A89A34}" srcOrd="4" destOrd="0" parTransId="{4C782B71-62C5-4D32-A8A4-080B9A6FCC51}" sibTransId="{4C50894E-3AEB-4D04-AD83-6D32A3F7A47C}"/>
    <dgm:cxn modelId="{5506C5CE-E28C-40B0-8D71-3D087000AF1C}" type="presOf" srcId="{67D50940-4C54-4D1D-B175-52AC55ED084D}" destId="{86356C16-8EE4-4B5D-8D41-5B6337BA3410}" srcOrd="0" destOrd="0" presId="urn:microsoft.com/office/officeart/2011/layout/HexagonRadial"/>
    <dgm:cxn modelId="{2EF961D0-E8FD-4C8B-A70E-DDAC637FBC7A}" type="presOf" srcId="{2C69F7D2-E2E2-43A7-AF64-64790F748893}" destId="{B707A6EE-E447-4B5C-9DC2-54D41A944A8F}" srcOrd="0" destOrd="0" presId="urn:microsoft.com/office/officeart/2011/layout/HexagonRadial"/>
    <dgm:cxn modelId="{337D34D3-7BBB-4C04-89B9-3360653A68BD}" srcId="{2C69F7D2-E2E2-43A7-AF64-64790F748893}" destId="{A8CFD871-C329-4DED-9520-F51114790A00}" srcOrd="0" destOrd="0" parTransId="{6CCBABFE-98FE-4AE4-A7AE-6D7EEC18FFD3}" sibTransId="{7745C38E-24C6-463F-B4D7-DF197ED228AD}"/>
    <dgm:cxn modelId="{D7CE6FEA-9B10-4767-8EB2-27E148DA4600}" srcId="{10E7B92D-6AE4-49F3-B5B8-4FFEDEB4A8A2}" destId="{31CEBAAE-EA95-42BA-9E11-6AEBFE7301F2}" srcOrd="1" destOrd="0" parTransId="{2B92E568-8269-42BE-AD6F-2872DAF7DBAD}" sibTransId="{D03CC666-5883-4743-9BC8-3BB76FC89A02}"/>
    <dgm:cxn modelId="{615C45ED-AC8C-4DC6-A800-428CD9DDA9DF}" type="presOf" srcId="{241C3EF9-3548-4711-8E70-730E47A89A34}" destId="{FEE86449-D62E-4029-915D-3B06F9245245}" srcOrd="0" destOrd="0" presId="urn:microsoft.com/office/officeart/2011/layout/HexagonRadial"/>
    <dgm:cxn modelId="{DEE16AC2-0B5A-4563-8725-702B7194330E}" type="presParOf" srcId="{545FAF9C-F6CA-4896-A427-8C1630833F59}" destId="{B707A6EE-E447-4B5C-9DC2-54D41A944A8F}" srcOrd="0" destOrd="0" presId="urn:microsoft.com/office/officeart/2011/layout/HexagonRadial"/>
    <dgm:cxn modelId="{7B6B624B-6019-4816-AC98-39A285327D9F}" type="presParOf" srcId="{545FAF9C-F6CA-4896-A427-8C1630833F59}" destId="{1486A91E-0245-4053-852C-936E8911CADC}" srcOrd="1" destOrd="0" presId="urn:microsoft.com/office/officeart/2011/layout/HexagonRadial"/>
    <dgm:cxn modelId="{9BD0FD2B-3570-4B88-8DB4-415B8F40D066}" type="presParOf" srcId="{1486A91E-0245-4053-852C-936E8911CADC}" destId="{D0070F46-B5D3-4EAE-8800-E84EBABCDCD3}" srcOrd="0" destOrd="0" presId="urn:microsoft.com/office/officeart/2011/layout/HexagonRadial"/>
    <dgm:cxn modelId="{240E75D2-C7AC-4284-B5D1-DCB953F79118}" type="presParOf" srcId="{545FAF9C-F6CA-4896-A427-8C1630833F59}" destId="{A12A4807-7717-4A8E-9993-26494D0278DE}" srcOrd="2" destOrd="0" presId="urn:microsoft.com/office/officeart/2011/layout/HexagonRadial"/>
    <dgm:cxn modelId="{59607797-2A3C-402B-90E6-105E4D3D099B}" type="presParOf" srcId="{545FAF9C-F6CA-4896-A427-8C1630833F59}" destId="{9B994C1F-1D39-46A7-927D-ABEA3AB5C705}" srcOrd="3" destOrd="0" presId="urn:microsoft.com/office/officeart/2011/layout/HexagonRadial"/>
    <dgm:cxn modelId="{2A464ECC-C735-49EE-A5B4-FC0D3A155825}" type="presParOf" srcId="{9B994C1F-1D39-46A7-927D-ABEA3AB5C705}" destId="{6EE3ADB0-217C-41F5-B53B-21A75559013A}" srcOrd="0" destOrd="0" presId="urn:microsoft.com/office/officeart/2011/layout/HexagonRadial"/>
    <dgm:cxn modelId="{8E577F7B-D357-4DBB-99FD-2710B056C007}" type="presParOf" srcId="{545FAF9C-F6CA-4896-A427-8C1630833F59}" destId="{8234E8A3-ACDB-4810-96FB-EB7CEF262CBC}" srcOrd="4" destOrd="0" presId="urn:microsoft.com/office/officeart/2011/layout/HexagonRadial"/>
    <dgm:cxn modelId="{38E8A9F8-FCE7-47A1-BF3B-3AF772518208}" type="presParOf" srcId="{545FAF9C-F6CA-4896-A427-8C1630833F59}" destId="{058E559F-37FC-408E-AA08-17C3739DB144}" srcOrd="5" destOrd="0" presId="urn:microsoft.com/office/officeart/2011/layout/HexagonRadial"/>
    <dgm:cxn modelId="{73D0412F-2C43-4A03-9DE4-BF0B71FDAA93}" type="presParOf" srcId="{058E559F-37FC-408E-AA08-17C3739DB144}" destId="{C6471054-1021-43BF-9065-490C0BEEEC42}" srcOrd="0" destOrd="0" presId="urn:microsoft.com/office/officeart/2011/layout/HexagonRadial"/>
    <dgm:cxn modelId="{403EEE00-296C-44D5-8672-A65821064AC3}" type="presParOf" srcId="{545FAF9C-F6CA-4896-A427-8C1630833F59}" destId="{6C54352B-60C7-432A-9CFA-899078ADA639}" srcOrd="6" destOrd="0" presId="urn:microsoft.com/office/officeart/2011/layout/HexagonRadial"/>
    <dgm:cxn modelId="{D51BF899-841B-4D47-9288-F27793F69290}" type="presParOf" srcId="{545FAF9C-F6CA-4896-A427-8C1630833F59}" destId="{8B48F45E-8B5E-4F91-9CD7-95D0B1394480}" srcOrd="7" destOrd="0" presId="urn:microsoft.com/office/officeart/2011/layout/HexagonRadial"/>
    <dgm:cxn modelId="{53144770-DC8D-40A8-B297-4D4A190C90B9}" type="presParOf" srcId="{8B48F45E-8B5E-4F91-9CD7-95D0B1394480}" destId="{F073EB84-04EA-4D5C-8A68-A96813FB1553}" srcOrd="0" destOrd="0" presId="urn:microsoft.com/office/officeart/2011/layout/HexagonRadial"/>
    <dgm:cxn modelId="{342FDE04-3565-4C60-B485-2ABBA47E7EA0}" type="presParOf" srcId="{545FAF9C-F6CA-4896-A427-8C1630833F59}" destId="{6F762F99-8CB0-4F01-B8E8-98828D00B253}" srcOrd="8" destOrd="0" presId="urn:microsoft.com/office/officeart/2011/layout/HexagonRadial"/>
    <dgm:cxn modelId="{6E7BF98A-4CAA-47DF-8938-247AF70981B3}" type="presParOf" srcId="{545FAF9C-F6CA-4896-A427-8C1630833F59}" destId="{BA7C249D-45BA-4BC1-AA6F-30DB65E5ADB8}" srcOrd="9" destOrd="0" presId="urn:microsoft.com/office/officeart/2011/layout/HexagonRadial"/>
    <dgm:cxn modelId="{7E75FB15-0A41-4DC6-903A-37932C7061C3}" type="presParOf" srcId="{BA7C249D-45BA-4BC1-AA6F-30DB65E5ADB8}" destId="{057B56E3-FEA5-4E84-90C3-167772E6041A}" srcOrd="0" destOrd="0" presId="urn:microsoft.com/office/officeart/2011/layout/HexagonRadial"/>
    <dgm:cxn modelId="{AC6A6E8E-745E-4A32-A5F4-2121464E3508}" type="presParOf" srcId="{545FAF9C-F6CA-4896-A427-8C1630833F59}" destId="{FEE86449-D62E-4029-915D-3B06F9245245}" srcOrd="10" destOrd="0" presId="urn:microsoft.com/office/officeart/2011/layout/HexagonRadial"/>
    <dgm:cxn modelId="{9089294C-D041-46DF-8E13-B35EE7ECE4F1}" type="presParOf" srcId="{545FAF9C-F6CA-4896-A427-8C1630833F59}" destId="{D9257EC7-E9F2-4C81-8273-D809AD04BC5F}" srcOrd="11" destOrd="0" presId="urn:microsoft.com/office/officeart/2011/layout/HexagonRadial"/>
    <dgm:cxn modelId="{9E11039E-71CD-4ECE-855E-38B97164B136}" type="presParOf" srcId="{D9257EC7-E9F2-4C81-8273-D809AD04BC5F}" destId="{7F8CBE95-E259-4935-81BE-D8B6432AC11D}" srcOrd="0" destOrd="0" presId="urn:microsoft.com/office/officeart/2011/layout/HexagonRadial"/>
    <dgm:cxn modelId="{FBAC4434-D4C8-49C5-BDA3-03EC17734AA5}" type="presParOf" srcId="{545FAF9C-F6CA-4896-A427-8C1630833F59}" destId="{86356C16-8EE4-4B5D-8D41-5B6337BA3410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07A6EE-E447-4B5C-9DC2-54D41A944A8F}">
      <dsp:nvSpPr>
        <dsp:cNvPr id="0" name=""/>
        <dsp:cNvSpPr/>
      </dsp:nvSpPr>
      <dsp:spPr>
        <a:xfrm>
          <a:off x="3564552" y="1344886"/>
          <a:ext cx="1709408" cy="1478707"/>
        </a:xfrm>
        <a:prstGeom prst="hexagon">
          <a:avLst>
            <a:gd name="adj" fmla="val 28570"/>
            <a:gd name="vf" fmla="val 115470"/>
          </a:avLst>
        </a:prstGeom>
        <a:blipFill rotWithShape="0">
          <a:blip xmlns:r="http://schemas.openxmlformats.org/officeDocument/2006/relationships" r:embed="rId1">
            <a:duotone>
              <a:schemeClr val="accent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</a:blip>
          <a:srcRect/>
          <a:stretch>
            <a:fillRect t="-6000" b="-6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b="1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</dsp:txBody>
      <dsp:txXfrm>
        <a:off x="3847825" y="1589928"/>
        <a:ext cx="1142862" cy="988623"/>
      </dsp:txXfrm>
    </dsp:sp>
    <dsp:sp modelId="{6EE3ADB0-217C-41F5-B53B-21A75559013A}">
      <dsp:nvSpPr>
        <dsp:cNvPr id="0" name=""/>
        <dsp:cNvSpPr/>
      </dsp:nvSpPr>
      <dsp:spPr>
        <a:xfrm>
          <a:off x="4634971" y="637424"/>
          <a:ext cx="644954" cy="555713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2A4807-7717-4A8E-9993-26494D0278DE}">
      <dsp:nvSpPr>
        <dsp:cNvPr id="0" name=""/>
        <dsp:cNvSpPr/>
      </dsp:nvSpPr>
      <dsp:spPr>
        <a:xfrm>
          <a:off x="3692673" y="7707"/>
          <a:ext cx="1452665" cy="1211898"/>
        </a:xfrm>
        <a:prstGeom prst="hexagon">
          <a:avLst>
            <a:gd name="adj" fmla="val 28570"/>
            <a:gd name="vf" fmla="val 115470"/>
          </a:avLst>
        </a:prstGeom>
        <a:solidFill>
          <a:srgbClr val="43B02A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Transparent</a:t>
          </a:r>
        </a:p>
      </dsp:txBody>
      <dsp:txXfrm>
        <a:off x="3929142" y="204983"/>
        <a:ext cx="979727" cy="817346"/>
      </dsp:txXfrm>
    </dsp:sp>
    <dsp:sp modelId="{C6471054-1021-43BF-9065-490C0BEEEC42}">
      <dsp:nvSpPr>
        <dsp:cNvPr id="0" name=""/>
        <dsp:cNvSpPr/>
      </dsp:nvSpPr>
      <dsp:spPr>
        <a:xfrm>
          <a:off x="5387683" y="1676313"/>
          <a:ext cx="644954" cy="555713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34E8A3-ACDB-4810-96FB-EB7CEF262CBC}">
      <dsp:nvSpPr>
        <dsp:cNvPr id="0" name=""/>
        <dsp:cNvSpPr/>
      </dsp:nvSpPr>
      <dsp:spPr>
        <a:xfrm>
          <a:off x="5006754" y="745398"/>
          <a:ext cx="1400848" cy="1211898"/>
        </a:xfrm>
        <a:prstGeom prst="hexagon">
          <a:avLst>
            <a:gd name="adj" fmla="val 28570"/>
            <a:gd name="vf" fmla="val 1154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Empowered</a:t>
          </a:r>
        </a:p>
      </dsp:txBody>
      <dsp:txXfrm>
        <a:off x="5238904" y="946235"/>
        <a:ext cx="936548" cy="810224"/>
      </dsp:txXfrm>
    </dsp:sp>
    <dsp:sp modelId="{F073EB84-04EA-4D5C-8A68-A96813FB1553}">
      <dsp:nvSpPr>
        <dsp:cNvPr id="0" name=""/>
        <dsp:cNvSpPr/>
      </dsp:nvSpPr>
      <dsp:spPr>
        <a:xfrm>
          <a:off x="4864800" y="2849024"/>
          <a:ext cx="644954" cy="555713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54352B-60C7-432A-9CFA-899078ADA639}">
      <dsp:nvSpPr>
        <dsp:cNvPr id="0" name=""/>
        <dsp:cNvSpPr/>
      </dsp:nvSpPr>
      <dsp:spPr>
        <a:xfrm>
          <a:off x="5006754" y="2210766"/>
          <a:ext cx="1400848" cy="1211898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Quality</a:t>
          </a:r>
          <a:r>
            <a:rPr lang="en-US" sz="2400" b="1" kern="1200" dirty="0"/>
            <a:t> </a:t>
          </a: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of</a:t>
          </a:r>
          <a:r>
            <a:rPr lang="en-US" sz="2400" b="1" kern="1200" dirty="0"/>
            <a:t> </a:t>
          </a: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Care</a:t>
          </a:r>
        </a:p>
      </dsp:txBody>
      <dsp:txXfrm>
        <a:off x="5238904" y="2411603"/>
        <a:ext cx="936548" cy="810224"/>
      </dsp:txXfrm>
    </dsp:sp>
    <dsp:sp modelId="{057B56E3-FEA5-4E84-90C3-167772E6041A}">
      <dsp:nvSpPr>
        <dsp:cNvPr id="0" name=""/>
        <dsp:cNvSpPr/>
      </dsp:nvSpPr>
      <dsp:spPr>
        <a:xfrm>
          <a:off x="3567733" y="2970756"/>
          <a:ext cx="644954" cy="555713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762F99-8CB0-4F01-B8E8-98828D00B253}">
      <dsp:nvSpPr>
        <dsp:cNvPr id="0" name=""/>
        <dsp:cNvSpPr/>
      </dsp:nvSpPr>
      <dsp:spPr>
        <a:xfrm>
          <a:off x="3722014" y="2956998"/>
          <a:ext cx="1400848" cy="1211898"/>
        </a:xfrm>
        <a:prstGeom prst="hexagon">
          <a:avLst>
            <a:gd name="adj" fmla="val 28570"/>
            <a:gd name="vf" fmla="val 11547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Ease</a:t>
          </a:r>
          <a:r>
            <a:rPr lang="en-US" sz="2400" b="1" kern="1200" dirty="0"/>
            <a:t> </a:t>
          </a: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of</a:t>
          </a:r>
          <a:r>
            <a:rPr lang="en-US" sz="2400" b="1" kern="1200" dirty="0"/>
            <a:t> </a:t>
          </a: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Participation</a:t>
          </a:r>
        </a:p>
      </dsp:txBody>
      <dsp:txXfrm>
        <a:off x="3954164" y="3157835"/>
        <a:ext cx="936548" cy="810224"/>
      </dsp:txXfrm>
    </dsp:sp>
    <dsp:sp modelId="{7F8CBE95-E259-4935-81BE-D8B6432AC11D}">
      <dsp:nvSpPr>
        <dsp:cNvPr id="0" name=""/>
        <dsp:cNvSpPr/>
      </dsp:nvSpPr>
      <dsp:spPr>
        <a:xfrm>
          <a:off x="2802694" y="1932283"/>
          <a:ext cx="644954" cy="555713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E86449-D62E-4029-915D-3B06F9245245}">
      <dsp:nvSpPr>
        <dsp:cNvPr id="0" name=""/>
        <dsp:cNvSpPr/>
      </dsp:nvSpPr>
      <dsp:spPr>
        <a:xfrm>
          <a:off x="2431309" y="2211599"/>
          <a:ext cx="1400848" cy="1211898"/>
        </a:xfrm>
        <a:prstGeom prst="hexagon">
          <a:avLst>
            <a:gd name="adj" fmla="val 2857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Better</a:t>
          </a:r>
          <a:r>
            <a:rPr lang="en-US" sz="2400" b="1" kern="1200" dirty="0"/>
            <a:t> </a:t>
          </a: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Outcomes</a:t>
          </a:r>
        </a:p>
      </dsp:txBody>
      <dsp:txXfrm>
        <a:off x="2663459" y="2412436"/>
        <a:ext cx="936548" cy="810224"/>
      </dsp:txXfrm>
    </dsp:sp>
    <dsp:sp modelId="{86356C16-8EE4-4B5D-8D41-5B6337BA3410}">
      <dsp:nvSpPr>
        <dsp:cNvPr id="0" name=""/>
        <dsp:cNvSpPr/>
      </dsp:nvSpPr>
      <dsp:spPr>
        <a:xfrm>
          <a:off x="2431309" y="743731"/>
          <a:ext cx="1400848" cy="1211898"/>
        </a:xfrm>
        <a:prstGeom prst="hexagon">
          <a:avLst>
            <a:gd name="adj" fmla="val 28570"/>
            <a:gd name="vf" fmla="val 115470"/>
          </a:avLst>
        </a:prstGeom>
        <a:solidFill>
          <a:srgbClr val="43B02A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Informed</a:t>
          </a:r>
        </a:p>
      </dsp:txBody>
      <dsp:txXfrm>
        <a:off x="2663459" y="944568"/>
        <a:ext cx="936548" cy="8102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7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5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2/3/2020</a:t>
            </a:fld>
            <a:endParaRPr lang="en-US" sz="10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9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1AEB31D-785F-4037-AF55-C38B1E926C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14260" y="335950"/>
            <a:ext cx="1414165" cy="25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770386"/>
            <a:ext cx="4476872" cy="2320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 i="1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2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16438" y="6921500"/>
            <a:ext cx="2687637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99639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A11F1A-D1FF-4159-B849-47DB712394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49581" y="397611"/>
            <a:ext cx="1173592" cy="372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927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3C967-60F0-4D2C-9E1C-A3DBCA9D75D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9847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3C967-60F0-4D2C-9E1C-A3DBCA9D75D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821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3C967-60F0-4D2C-9E1C-A3DBCA9D75DE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953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8E2C89B-7571-F544-938F-C999797826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C389885A-662E-5947-8436-A98DDE93BD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2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328CB7-3B3E-0342-86D5-64775D744D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ED209FE6-0B0A-D14A-BD31-A3A61564FD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8114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14D20CB-6BD9-3344-8B42-A798B20AE4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9941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5DB0DA4-0F7F-5045-9BBE-0D82F61E59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F16763F-C469-814B-B3F1-2A463EAEA8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E46837B-2F3B-3F49-9B2E-B8C03BCF77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49B7DBB-D418-4245-8897-F7BF24A4CB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CBCE073-12D8-9D4F-9B15-2F9BE4AC35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B41ADD7-88C0-DB40-906A-BEDD0E1B96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7FE4F4C-058F-1246-9292-27658894B4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AB890B20-7C27-E743-AFC7-1377DA7424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4BC7BA97-D1F6-6142-A1BF-69BAA576E6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A1AF0D6-51EF-1945-B4E8-68EF85E87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FA0C75DF-794A-7740-B701-C5E07B943A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7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Lef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7A7498E-6C5A-334A-934D-1310A39975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503691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485711" y="1079592"/>
            <a:ext cx="5237542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485710" y="6387858"/>
            <a:ext cx="3184467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B9E4976-132F-F449-8124-B504F37C98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9FA5B910-89DD-174C-A26A-EA59611881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3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08ABCCBF-3981-0241-8287-3903E624904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808" y="0"/>
            <a:ext cx="6108192" cy="6858000"/>
          </a:xfrm>
          <a:prstGeom prst="rect">
            <a:avLst/>
          </a:prstGeom>
          <a:blipFill>
            <a:blip r:embed="rId2"/>
            <a:stretch>
              <a:fillRect l="1"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0A3F7CAF-2DCF-AE44-8B02-C3A9F59943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6.68” wide X 7.5” tall at 150dpi resolut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B8F1DF2-27A3-8249-8796-6A002E0D8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1079592"/>
            <a:ext cx="5237543" cy="768263"/>
          </a:xfrm>
          <a:prstGeom prst="rect">
            <a:avLst/>
          </a:prstGeom>
        </p:spPr>
        <p:txBody>
          <a:bodyPr anchor="b" anchorCtr="0"/>
          <a:lstStyle>
            <a:lvl1pPr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0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D56D8B-7A45-7247-92A2-DECA0DA4B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5237543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4B5D617-8638-9248-B078-99CA6D58FCA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2674" y="2079330"/>
            <a:ext cx="5219563" cy="42011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968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1EBA7B86-AF66-5642-80C5-A8A4D9FEB9C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4803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8C96C06-AFDA-BB43-A8AD-9713C5A7978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208855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B9A207CB-7D3D-2245-B4EB-AB96C5D60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2097A297-0518-B946-B9DB-E1ECD62C26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3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Light Grey - IQVIA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0F63227-657D-4706-8FAB-F4C1769683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6482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387858"/>
            <a:ext cx="858796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 dirty="0">
              <a:solidFill>
                <a:srgbClr val="7F7F7F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676FBE2-B43F-5C47-8389-AD3C99D975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E54EF48-C603-844E-86D0-A4AC0707BF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27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IQVIA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16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ECB2AB0-AE05-714C-B46B-551297B2D9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3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Confidential - Strictly for internal use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12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IQVIA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A1D794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D06917E-3E0E-6D47-9181-57DC0B9695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C11FE6E2-D9E8-0647-A8B0-4DC83BC372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3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Confidential - Strictly for internal use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1554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</p:spTree>
    <p:extLst>
      <p:ext uri="{BB962C8B-B14F-4D97-AF65-F5344CB8AC3E}">
        <p14:creationId xmlns:p14="http://schemas.microsoft.com/office/powerpoint/2010/main" val="260141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9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4" y="6387859"/>
            <a:ext cx="9116145" cy="33808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485699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range - IQVIA">
    <p:bg>
      <p:bgPr>
        <a:gradFill>
          <a:gsLst>
            <a:gs pos="20000">
              <a:srgbClr val="FE8A12"/>
            </a:gs>
            <a:gs pos="80000">
              <a:srgbClr val="F4C65A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/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chemeClr val="bg1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FFE2C4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rgbClr val="FE8A1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77635335-ADA9-F14A-AA59-3605F10A2B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06B8EAA8-EC44-4144-A6F8-43D1C0C683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6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A43F6D9-2B76-4F47-8BB1-588F5D046A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77A25CF-5914-0B4E-8C5F-E8D980A4AE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1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2EC9C87-CE31-4CA8-933C-B8C7C252CA86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BC71F-4BC2-47A4-96C7-2E221AFAC45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EBD35E-79D5-4A08-BBFB-35E25D1D2A66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EFFBAF58-7775-B441-95B2-60BAEE6306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7BD8E0C7-3A74-E943-836A-7A1E89CA92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80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5576FF8-95FB-5A4A-AD47-8ECC3E9AED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9F63AD4-B76D-3B4F-9D8D-50FE701100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B39BD980-859A-ED43-B5E0-B78C35812A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71D6C41-2089-8944-A7DE-1B4DA2E9F9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C861044-95A1-2B49-A60B-B4999A56CF9B}"/>
              </a:ext>
            </a:extLst>
          </p:cNvPr>
          <p:cNvGrpSpPr/>
          <p:nvPr/>
        </p:nvGrpSpPr>
        <p:grpSpPr>
          <a:xfrm>
            <a:off x="12325585" y="41736"/>
            <a:ext cx="1568505" cy="4234899"/>
            <a:chOff x="12325585" y="41736"/>
            <a:chExt cx="1568505" cy="4234899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E52E4A4F-48AC-314F-832A-152FAA431290}"/>
                </a:ext>
              </a:extLst>
            </p:cNvPr>
            <p:cNvSpPr/>
            <p:nvPr/>
          </p:nvSpPr>
          <p:spPr bwMode="gray">
            <a:xfrm>
              <a:off x="12798661" y="253916"/>
              <a:ext cx="284385" cy="284385"/>
            </a:xfrm>
            <a:prstGeom prst="rect">
              <a:avLst/>
            </a:prstGeom>
            <a:solidFill>
              <a:srgbClr val="7FD1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4778FF28-E215-F743-9488-882D8EDD0511}"/>
                </a:ext>
              </a:extLst>
            </p:cNvPr>
            <p:cNvSpPr/>
            <p:nvPr/>
          </p:nvSpPr>
          <p:spPr bwMode="gray">
            <a:xfrm>
              <a:off x="12798661" y="590140"/>
              <a:ext cx="284385" cy="284385"/>
            </a:xfrm>
            <a:prstGeom prst="rect">
              <a:avLst/>
            </a:prstGeom>
            <a:solidFill>
              <a:srgbClr val="7FA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B1618DEE-18B6-D745-8EED-3ED1371E9198}"/>
                </a:ext>
              </a:extLst>
            </p:cNvPr>
            <p:cNvSpPr/>
            <p:nvPr/>
          </p:nvSpPr>
          <p:spPr bwMode="gray">
            <a:xfrm>
              <a:off x="13135211" y="253916"/>
              <a:ext cx="284385" cy="284385"/>
            </a:xfrm>
            <a:prstGeom prst="rect">
              <a:avLst/>
            </a:prstGeom>
            <a:solidFill>
              <a:srgbClr val="40BA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423BB6E3-FAB2-5F4B-B1C5-ECC7E64739F2}"/>
                </a:ext>
              </a:extLst>
            </p:cNvPr>
            <p:cNvSpPr/>
            <p:nvPr/>
          </p:nvSpPr>
          <p:spPr bwMode="gray">
            <a:xfrm>
              <a:off x="13135211" y="590140"/>
              <a:ext cx="284385" cy="284385"/>
            </a:xfrm>
            <a:prstGeom prst="rect">
              <a:avLst/>
            </a:prstGeom>
            <a:solidFill>
              <a:srgbClr val="4080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7D336131-DE9C-4C4E-BD70-9A4AC3A2929D}"/>
                </a:ext>
              </a:extLst>
            </p:cNvPr>
            <p:cNvSpPr/>
            <p:nvPr/>
          </p:nvSpPr>
          <p:spPr bwMode="gray">
            <a:xfrm>
              <a:off x="13471761" y="253916"/>
              <a:ext cx="284385" cy="284385"/>
            </a:xfrm>
            <a:prstGeom prst="rect">
              <a:avLst/>
            </a:prstGeom>
            <a:solidFill>
              <a:srgbClr val="BFE8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1275795E-B071-FE47-9C29-B3F692BBC02B}"/>
                </a:ext>
              </a:extLst>
            </p:cNvPr>
            <p:cNvSpPr/>
            <p:nvPr/>
          </p:nvSpPr>
          <p:spPr bwMode="gray">
            <a:xfrm>
              <a:off x="13471761" y="590140"/>
              <a:ext cx="284385" cy="284385"/>
            </a:xfrm>
            <a:prstGeom prst="rect">
              <a:avLst/>
            </a:prstGeom>
            <a:solidFill>
              <a:srgbClr val="BFD4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383B52BA-0D9D-134E-BA96-0A4FDACC53AE}"/>
                </a:ext>
              </a:extLst>
            </p:cNvPr>
            <p:cNvSpPr/>
            <p:nvPr/>
          </p:nvSpPr>
          <p:spPr bwMode="gray">
            <a:xfrm>
              <a:off x="12462111" y="928669"/>
              <a:ext cx="284385" cy="28438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D5E5BC3B-0E3A-2449-8ACA-85F6A951CB01}"/>
                </a:ext>
              </a:extLst>
            </p:cNvPr>
            <p:cNvSpPr/>
            <p:nvPr/>
          </p:nvSpPr>
          <p:spPr bwMode="gray">
            <a:xfrm>
              <a:off x="12798661" y="1935420"/>
              <a:ext cx="284385" cy="284385"/>
            </a:xfrm>
            <a:prstGeom prst="rect">
              <a:avLst/>
            </a:prstGeom>
            <a:solidFill>
              <a:srgbClr val="F7D9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8EFF8B2C-FC11-CD46-9C8A-BD730900B2A6}"/>
                </a:ext>
              </a:extLst>
            </p:cNvPr>
            <p:cNvSpPr/>
            <p:nvPr/>
          </p:nvSpPr>
          <p:spPr bwMode="gray">
            <a:xfrm>
              <a:off x="13135211" y="1935420"/>
              <a:ext cx="284385" cy="284385"/>
            </a:xfrm>
            <a:prstGeom prst="rect">
              <a:avLst/>
            </a:prstGeom>
            <a:solidFill>
              <a:srgbClr val="F4C6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952D731D-63C4-7E42-B942-5ADF27F0ADA2}"/>
                </a:ext>
              </a:extLst>
            </p:cNvPr>
            <p:cNvSpPr/>
            <p:nvPr/>
          </p:nvSpPr>
          <p:spPr bwMode="gray">
            <a:xfrm>
              <a:off x="13471761" y="1935420"/>
              <a:ext cx="284385" cy="284385"/>
            </a:xfrm>
            <a:prstGeom prst="rect">
              <a:avLst/>
            </a:prstGeom>
            <a:solidFill>
              <a:srgbClr val="FBEC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6E19D061-2CCE-864A-AFCF-BA62ED98CF10}"/>
                </a:ext>
              </a:extLst>
            </p:cNvPr>
            <p:cNvSpPr/>
            <p:nvPr/>
          </p:nvSpPr>
          <p:spPr bwMode="gray">
            <a:xfrm>
              <a:off x="12462111" y="592349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2A251A5D-E834-5447-953F-4148EC11C9B8}"/>
                </a:ext>
              </a:extLst>
            </p:cNvPr>
            <p:cNvSpPr/>
            <p:nvPr/>
          </p:nvSpPr>
          <p:spPr bwMode="gray">
            <a:xfrm>
              <a:off x="12798661" y="2271740"/>
              <a:ext cx="284385" cy="284385"/>
            </a:xfrm>
            <a:prstGeom prst="rect">
              <a:avLst/>
            </a:prstGeom>
            <a:solidFill>
              <a:srgbClr val="FEC4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9B01F80C-8595-A74C-AF49-6359801C9784}"/>
                </a:ext>
              </a:extLst>
            </p:cNvPr>
            <p:cNvSpPr/>
            <p:nvPr/>
          </p:nvSpPr>
          <p:spPr bwMode="gray">
            <a:xfrm>
              <a:off x="13135211" y="2271740"/>
              <a:ext cx="284385" cy="284385"/>
            </a:xfrm>
            <a:prstGeom prst="rect">
              <a:avLst/>
            </a:prstGeom>
            <a:solidFill>
              <a:srgbClr val="FEA7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BC6370F1-26AD-E041-BA8A-F7DA8D95B8CA}"/>
                </a:ext>
              </a:extLst>
            </p:cNvPr>
            <p:cNvSpPr/>
            <p:nvPr/>
          </p:nvSpPr>
          <p:spPr bwMode="gray">
            <a:xfrm>
              <a:off x="13471761" y="2271740"/>
              <a:ext cx="284385" cy="284385"/>
            </a:xfrm>
            <a:prstGeom prst="rect">
              <a:avLst/>
            </a:prstGeom>
            <a:solidFill>
              <a:srgbClr val="FFE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EAB45CE9-BB6C-0149-80BA-31C7AE5626C4}"/>
                </a:ext>
              </a:extLst>
            </p:cNvPr>
            <p:cNvSpPr/>
            <p:nvPr/>
          </p:nvSpPr>
          <p:spPr bwMode="gray">
            <a:xfrm>
              <a:off x="12462111" y="253916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FFB35FDC-2232-864F-BADD-661D156158D6}"/>
                </a:ext>
              </a:extLst>
            </p:cNvPr>
            <p:cNvSpPr/>
            <p:nvPr/>
          </p:nvSpPr>
          <p:spPr bwMode="gray">
            <a:xfrm>
              <a:off x="12798661" y="1596891"/>
              <a:ext cx="284385" cy="284385"/>
            </a:xfrm>
            <a:prstGeom prst="rect">
              <a:avLst/>
            </a:prstGeom>
            <a:solidFill>
              <a:srgbClr val="7FDF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87CB333C-9A58-F740-B08D-09FA1D104B15}"/>
                </a:ext>
              </a:extLst>
            </p:cNvPr>
            <p:cNvSpPr/>
            <p:nvPr/>
          </p:nvSpPr>
          <p:spPr bwMode="gray">
            <a:xfrm>
              <a:off x="13135211" y="1596891"/>
              <a:ext cx="284385" cy="284385"/>
            </a:xfrm>
            <a:prstGeom prst="rect">
              <a:avLst/>
            </a:prstGeom>
            <a:solidFill>
              <a:srgbClr val="40CF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6C89D992-5C10-3A45-BF16-4384F7BA6828}"/>
                </a:ext>
              </a:extLst>
            </p:cNvPr>
            <p:cNvSpPr/>
            <p:nvPr/>
          </p:nvSpPr>
          <p:spPr bwMode="gray">
            <a:xfrm>
              <a:off x="13471761" y="1596891"/>
              <a:ext cx="284385" cy="284385"/>
            </a:xfrm>
            <a:prstGeom prst="rect">
              <a:avLst/>
            </a:prstGeom>
            <a:solidFill>
              <a:srgbClr val="BFEF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1E77EE0C-3660-884F-B742-095D504276D0}"/>
                </a:ext>
              </a:extLst>
            </p:cNvPr>
            <p:cNvSpPr/>
            <p:nvPr/>
          </p:nvSpPr>
          <p:spPr bwMode="gray">
            <a:xfrm>
              <a:off x="12462111" y="3533419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2EEF83AE-8A27-C44A-9324-FA3A4896B8F4}"/>
                </a:ext>
              </a:extLst>
            </p:cNvPr>
            <p:cNvSpPr/>
            <p:nvPr/>
          </p:nvSpPr>
          <p:spPr bwMode="gray">
            <a:xfrm>
              <a:off x="13135211" y="3533419"/>
              <a:ext cx="284385" cy="28438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66F34DD6-075B-DD4E-91FD-7C3135028198}"/>
                </a:ext>
              </a:extLst>
            </p:cNvPr>
            <p:cNvSpPr/>
            <p:nvPr/>
          </p:nvSpPr>
          <p:spPr bwMode="gray">
            <a:xfrm>
              <a:off x="13471760" y="3533419"/>
              <a:ext cx="284385" cy="284385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7045834D-FFE6-DA41-B70D-07AFA78D8BEC}"/>
                </a:ext>
              </a:extLst>
            </p:cNvPr>
            <p:cNvSpPr/>
            <p:nvPr/>
          </p:nvSpPr>
          <p:spPr bwMode="gray">
            <a:xfrm>
              <a:off x="12798661" y="3533419"/>
              <a:ext cx="284385" cy="284385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93C60060-D439-1846-8187-6B3648AB779C}"/>
                </a:ext>
              </a:extLst>
            </p:cNvPr>
            <p:cNvSpPr/>
            <p:nvPr/>
          </p:nvSpPr>
          <p:spPr bwMode="gray">
            <a:xfrm>
              <a:off x="12462111" y="2610269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194537A3-815B-654F-9405-8FC3B6F0C70F}"/>
                </a:ext>
              </a:extLst>
            </p:cNvPr>
            <p:cNvSpPr/>
            <p:nvPr/>
          </p:nvSpPr>
          <p:spPr bwMode="gray">
            <a:xfrm>
              <a:off x="12462111" y="1937629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0B73106B-51C5-D541-9A87-B5CF0BC15FB3}"/>
                </a:ext>
              </a:extLst>
            </p:cNvPr>
            <p:cNvSpPr/>
            <p:nvPr/>
          </p:nvSpPr>
          <p:spPr bwMode="gray">
            <a:xfrm>
              <a:off x="12462111" y="227174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CD23B5AC-DE23-104B-8B31-0D484A7F8E82}"/>
                </a:ext>
              </a:extLst>
            </p:cNvPr>
            <p:cNvSpPr/>
            <p:nvPr/>
          </p:nvSpPr>
          <p:spPr bwMode="gray">
            <a:xfrm>
              <a:off x="12462111" y="16013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04E537CA-716E-A04D-A674-A23B2F9F0641}"/>
                </a:ext>
              </a:extLst>
            </p:cNvPr>
            <p:cNvSpPr/>
            <p:nvPr/>
          </p:nvSpPr>
          <p:spPr bwMode="gray">
            <a:xfrm>
              <a:off x="12462111" y="1264989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0E022DD8-7E50-6B40-9A0A-BB12BA4CB6EA}"/>
                </a:ext>
              </a:extLst>
            </p:cNvPr>
            <p:cNvSpPr/>
            <p:nvPr/>
          </p:nvSpPr>
          <p:spPr bwMode="gray">
            <a:xfrm>
              <a:off x="12462111" y="3074588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452789F3-816A-A644-BB73-0EBCDF25BAB5}"/>
                </a:ext>
              </a:extLst>
            </p:cNvPr>
            <p:cNvSpPr/>
            <p:nvPr/>
          </p:nvSpPr>
          <p:spPr bwMode="gray">
            <a:xfrm>
              <a:off x="12798661" y="2610269"/>
              <a:ext cx="284385" cy="284385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1398C4E5-4403-FC41-9A95-9A4D9240F6E5}"/>
                </a:ext>
              </a:extLst>
            </p:cNvPr>
            <p:cNvSpPr/>
            <p:nvPr/>
          </p:nvSpPr>
          <p:spPr bwMode="gray">
            <a:xfrm>
              <a:off x="12798661" y="1264989"/>
              <a:ext cx="284385" cy="284385"/>
            </a:xfrm>
            <a:prstGeom prst="rect">
              <a:avLst/>
            </a:prstGeom>
            <a:solidFill>
              <a:srgbClr val="80B8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894006C7-064B-7D49-916C-7FD52454F72C}"/>
                </a:ext>
              </a:extLst>
            </p:cNvPr>
            <p:cNvSpPr/>
            <p:nvPr/>
          </p:nvSpPr>
          <p:spPr bwMode="gray">
            <a:xfrm>
              <a:off x="12798661" y="928669"/>
              <a:ext cx="284385" cy="284385"/>
            </a:xfrm>
            <a:prstGeom prst="rect">
              <a:avLst/>
            </a:prstGeom>
            <a:solidFill>
              <a:srgbClr val="A1D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D4188D44-56F8-0A4B-82CC-98A72AAAED7D}"/>
                </a:ext>
              </a:extLst>
            </p:cNvPr>
            <p:cNvSpPr/>
            <p:nvPr/>
          </p:nvSpPr>
          <p:spPr bwMode="gray">
            <a:xfrm>
              <a:off x="13135211" y="2610269"/>
              <a:ext cx="284385" cy="284385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3C36ECE3-857B-D44D-8E8A-B01F5907C1C0}"/>
                </a:ext>
              </a:extLst>
            </p:cNvPr>
            <p:cNvSpPr/>
            <p:nvPr/>
          </p:nvSpPr>
          <p:spPr bwMode="gray">
            <a:xfrm>
              <a:off x="13135211" y="1264989"/>
              <a:ext cx="284385" cy="284385"/>
            </a:xfrm>
            <a:prstGeom prst="rect">
              <a:avLst/>
            </a:prstGeom>
            <a:solidFill>
              <a:srgbClr val="4195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FF5D37CA-B7D6-B840-BB93-5B58E0D65FC5}"/>
                </a:ext>
              </a:extLst>
            </p:cNvPr>
            <p:cNvSpPr/>
            <p:nvPr/>
          </p:nvSpPr>
          <p:spPr bwMode="gray">
            <a:xfrm>
              <a:off x="13135211" y="928669"/>
              <a:ext cx="284385" cy="284385"/>
            </a:xfrm>
            <a:prstGeom prst="rect">
              <a:avLst/>
            </a:prstGeom>
            <a:solidFill>
              <a:srgbClr val="72C4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3A568378-A642-8843-ABE4-1D22617BABE9}"/>
                </a:ext>
              </a:extLst>
            </p:cNvPr>
            <p:cNvSpPr/>
            <p:nvPr/>
          </p:nvSpPr>
          <p:spPr bwMode="gray">
            <a:xfrm>
              <a:off x="13471761" y="2610269"/>
              <a:ext cx="284385" cy="284385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B2996DBD-9E22-D94C-8451-B43D1A1022A9}"/>
                </a:ext>
              </a:extLst>
            </p:cNvPr>
            <p:cNvSpPr/>
            <p:nvPr/>
          </p:nvSpPr>
          <p:spPr bwMode="gray">
            <a:xfrm>
              <a:off x="13471761" y="1264989"/>
              <a:ext cx="284385" cy="284385"/>
            </a:xfrm>
            <a:prstGeom prst="rect">
              <a:avLst/>
            </a:prstGeom>
            <a:solidFill>
              <a:srgbClr val="C0DC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BFA95D0E-D116-A94A-9C75-FF2794EFC7E5}"/>
                </a:ext>
              </a:extLst>
            </p:cNvPr>
            <p:cNvSpPr/>
            <p:nvPr/>
          </p:nvSpPr>
          <p:spPr bwMode="gray">
            <a:xfrm>
              <a:off x="13471761" y="928669"/>
              <a:ext cx="284385" cy="284385"/>
            </a:xfrm>
            <a:prstGeom prst="rect">
              <a:avLst/>
            </a:prstGeom>
            <a:solidFill>
              <a:srgbClr val="D0EB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10598390-A137-A449-B489-8A878F15F4DD}"/>
                </a:ext>
              </a:extLst>
            </p:cNvPr>
            <p:cNvSpPr txBox="1"/>
            <p:nvPr/>
          </p:nvSpPr>
          <p:spPr>
            <a:xfrm>
              <a:off x="12325585" y="41736"/>
              <a:ext cx="156850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tx1"/>
                  </a:solidFill>
                </a:rPr>
                <a:t>100%    50%     75%     25%</a:t>
              </a: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680A1A6A-874F-134B-A8DD-3CD456B31D0B}"/>
                </a:ext>
              </a:extLst>
            </p:cNvPr>
            <p:cNvSpPr/>
            <p:nvPr/>
          </p:nvSpPr>
          <p:spPr bwMode="gray">
            <a:xfrm>
              <a:off x="12462110" y="3992250"/>
              <a:ext cx="284385" cy="284385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971869EA-DDF0-F64D-9255-984F57AD749E}"/>
                </a:ext>
              </a:extLst>
            </p:cNvPr>
            <p:cNvSpPr txBox="1"/>
            <p:nvPr/>
          </p:nvSpPr>
          <p:spPr>
            <a:xfrm>
              <a:off x="12759146" y="4026720"/>
              <a:ext cx="77457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5% Charcoal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5131676" y="6955423"/>
            <a:ext cx="7060325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IQVIA Template (V2.0.1)</a:t>
            </a:r>
            <a:endParaRPr lang="en-US" sz="11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6" r:id="rId3"/>
    <p:sldLayoutId id="2147484237" r:id="rId4"/>
    <p:sldLayoutId id="2147484238" r:id="rId5"/>
    <p:sldLayoutId id="2147484239" r:id="rId6"/>
    <p:sldLayoutId id="2147484240" r:id="rId7"/>
    <p:sldLayoutId id="2147484241" r:id="rId8"/>
    <p:sldLayoutId id="2147484242" r:id="rId9"/>
    <p:sldLayoutId id="2147484243" r:id="rId10"/>
    <p:sldLayoutId id="2147484244" r:id="rId11"/>
    <p:sldLayoutId id="2147484245" r:id="rId12"/>
    <p:sldLayoutId id="2147484246" r:id="rId13"/>
    <p:sldLayoutId id="2147484247" r:id="rId14"/>
    <p:sldLayoutId id="2147484248" r:id="rId15"/>
    <p:sldLayoutId id="2147484249" r:id="rId16"/>
    <p:sldLayoutId id="2147484250" r:id="rId17"/>
    <p:sldLayoutId id="2147484251" r:id="rId18"/>
    <p:sldLayoutId id="2147484252" r:id="rId19"/>
    <p:sldLayoutId id="2147484253" r:id="rId20"/>
    <p:sldLayoutId id="2147484254" r:id="rId21"/>
    <p:sldLayoutId id="2147484255" r:id="rId22"/>
    <p:sldLayoutId id="2147484256" r:id="rId23"/>
    <p:sldLayoutId id="2147484257" r:id="rId24"/>
    <p:sldLayoutId id="2147484261" r:id="rId25"/>
    <p:sldLayoutId id="2147484258" r:id="rId26"/>
    <p:sldLayoutId id="2147484259" r:id="rId27"/>
    <p:sldLayoutId id="2147484260" r:id="rId28"/>
    <p:sldLayoutId id="2147484262" r:id="rId29"/>
    <p:sldLayoutId id="2147484265" r:id="rId30"/>
    <p:sldLayoutId id="2147484266" r:id="rId31"/>
    <p:sldLayoutId id="2147484267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.xml"/><Relationship Id="rId7" Type="http://schemas.openxmlformats.org/officeDocument/2006/relationships/chart" Target="../charts/char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6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microsoft.com/office/2007/relationships/hdphoto" Target="../media/hdphoto2.wdp"/><Relationship Id="rId5" Type="http://schemas.openxmlformats.org/officeDocument/2006/relationships/image" Target="../media/image17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da.gov/regulatory-information/search-fda-guidance-documents/patient-reported-outcome-measures-use-medical-product-development-support-labeling-claims" TargetMode="External"/><Relationship Id="rId2" Type="http://schemas.openxmlformats.org/officeDocument/2006/relationships/hyperlink" Target="https://www.fda.gov/media/94313/download" TargetMode="External"/><Relationship Id="rId1" Type="http://schemas.openxmlformats.org/officeDocument/2006/relationships/slideLayout" Target="../slideLayouts/slideLayout32.xml"/><Relationship Id="rId5" Type="http://schemas.openxmlformats.org/officeDocument/2006/relationships/hyperlink" Target="https://www.pfizer.com/news/press-release/press-release-detail/pfizer_conducts_first_virtual_clinical_trial_allowing_patients_to_participate_regardless_of_geography" TargetMode="External"/><Relationship Id="rId4" Type="http://schemas.openxmlformats.org/officeDocument/2006/relationships/hyperlink" Target="https://www.fiercebiotech.com/cro/sanofi-launches-new-virtual-trials-offering-science-37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6AFAF-2B5B-4A50-9008-998B2C9A03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chnologies in Clinical Development – Next Opportun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3DBC8B-FF70-423E-AE3E-988A9928E7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3329" y="5518464"/>
            <a:ext cx="6349838" cy="1004256"/>
          </a:xfrm>
        </p:spPr>
        <p:txBody>
          <a:bodyPr/>
          <a:lstStyle/>
          <a:p>
            <a:r>
              <a:rPr lang="en-US" dirty="0"/>
              <a:t>Anita Tripathy</a:t>
            </a:r>
          </a:p>
          <a:p>
            <a:r>
              <a:rPr lang="en-US" dirty="0"/>
              <a:t>Head Data Science, Safety &amp; Regulatory , Asia</a:t>
            </a:r>
          </a:p>
          <a:p>
            <a:r>
              <a:rPr lang="en-US" dirty="0"/>
              <a:t>4</a:t>
            </a:r>
            <a:r>
              <a:rPr lang="en-US" baseline="30000" dirty="0"/>
              <a:t>th</a:t>
            </a:r>
            <a:r>
              <a:rPr lang="en-US" dirty="0"/>
              <a:t> December 2020</a:t>
            </a:r>
          </a:p>
        </p:txBody>
      </p:sp>
    </p:spTree>
    <p:extLst>
      <p:ext uri="{BB962C8B-B14F-4D97-AF65-F5344CB8AC3E}">
        <p14:creationId xmlns:p14="http://schemas.microsoft.com/office/powerpoint/2010/main" val="213643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F3B3CB9-0DAE-48D9-88DF-4AB804EA1B82}"/>
              </a:ext>
            </a:extLst>
          </p:cNvPr>
          <p:cNvSpPr/>
          <p:nvPr/>
        </p:nvSpPr>
        <p:spPr>
          <a:xfrm>
            <a:off x="612823" y="1426559"/>
            <a:ext cx="10990042" cy="48785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EE122A-DECD-4C5A-A973-1B76F87B0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1828800" rtl="0" eaLnBrk="1" latinLnBrk="0" hangingPunct="1"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E3416C24-CE6A-4384-99F9-3C13D5393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568" y="313454"/>
            <a:ext cx="11638107" cy="461666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chemeClr val="tx2"/>
                </a:solidFill>
                <a:cs typeface="Arial" panose="020B0604020202020204" pitchFamily="34" charset="0"/>
              </a:rPr>
              <a:t>Technologies in Clinical Development – Next Opportuniti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A6FB80-0425-458C-9FB6-F3A042B0066A}"/>
              </a:ext>
            </a:extLst>
          </p:cNvPr>
          <p:cNvSpPr txBox="1"/>
          <p:nvPr/>
        </p:nvSpPr>
        <p:spPr>
          <a:xfrm>
            <a:off x="589134" y="870007"/>
            <a:ext cx="10990042" cy="461665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able of Content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B0A86653-3CF3-463C-8F55-70DFC5FF74CF}"/>
              </a:ext>
            </a:extLst>
          </p:cNvPr>
          <p:cNvSpPr txBox="1">
            <a:spLocks/>
          </p:cNvSpPr>
          <p:nvPr/>
        </p:nvSpPr>
        <p:spPr>
          <a:xfrm>
            <a:off x="612823" y="1546529"/>
            <a:ext cx="9817396" cy="4620348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>
            <a:lvl1pPr marL="45720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2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endParaRPr lang="en-US" sz="2000" dirty="0"/>
          </a:p>
          <a:p>
            <a:pPr>
              <a:buFont typeface="Wingdings" panose="05000000000000000000" pitchFamily="2" charset="2"/>
              <a:buChar char="Ø"/>
            </a:pPr>
            <a:endParaRPr lang="en-US" sz="20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/>
              <a:t>What are the challenges in Pharma R&amp;D ?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/>
              <a:t>How is the clinical development world changing ?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/>
              <a:t>How is technology transforming the Clinical Development space ?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/>
              <a:t>How are Regulators and the Industry responding to the change ?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/>
              <a:t>What are the impact on the India Skill Market and the next opportunities ?</a:t>
            </a: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5471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F3DB2AE-1291-4498-A056-9B0FF2DBFB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31029" y="37288"/>
            <a:ext cx="11338560" cy="768263"/>
          </a:xfrm>
        </p:spPr>
        <p:txBody>
          <a:bodyPr/>
          <a:lstStyle/>
          <a:p>
            <a:r>
              <a:rPr lang="en-US" dirty="0"/>
              <a:t>What are the challenges in pharma Clinical Development?</a:t>
            </a:r>
          </a:p>
        </p:txBody>
      </p:sp>
      <p:sp>
        <p:nvSpPr>
          <p:cNvPr id="28" name="TextBox 27"/>
          <p:cNvSpPr txBox="1">
            <a:spLocks/>
          </p:cNvSpPr>
          <p:nvPr/>
        </p:nvSpPr>
        <p:spPr>
          <a:xfrm>
            <a:off x="374152" y="6360339"/>
            <a:ext cx="11338561" cy="3981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>
            <a:noAutofit/>
          </a:bodyPr>
          <a:lstStyle/>
          <a:p>
            <a:r>
              <a:rPr lang="en-US" sz="900" dirty="0">
                <a:latin typeface="Arial"/>
              </a:rPr>
              <a:t>*Timeline will vary based on a number of factors including recruitment rate, trial end point design, potential for priority review; and these will differ across disease areas and product classes</a:t>
            </a:r>
          </a:p>
          <a:p>
            <a:r>
              <a:rPr lang="en-US" sz="900" dirty="0">
                <a:latin typeface="Arial"/>
              </a:rPr>
              <a:t>Source: IQVIA </a:t>
            </a:r>
            <a:r>
              <a:rPr lang="en-US" sz="900" dirty="0"/>
              <a:t>Pharmaceutical  Industry Overview 2019</a:t>
            </a:r>
            <a:endParaRPr lang="en-US" sz="900" dirty="0">
              <a:latin typeface="Arial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419701" y="5416805"/>
            <a:ext cx="1039193" cy="431629"/>
          </a:xfrm>
          <a:prstGeom prst="roundRect">
            <a:avLst/>
          </a:prstGeom>
          <a:solidFill>
            <a:schemeClr val="accent4"/>
          </a:solidFill>
        </p:spPr>
        <p:txBody>
          <a:bodyPr wrap="square" lIns="45720" rIns="45720" rtlCol="0" anchor="ctr"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</a:rPr>
              <a:t>Drug Approval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7A184E65-8CF5-4B33-A078-6A98C396AB30}"/>
              </a:ext>
            </a:extLst>
          </p:cNvPr>
          <p:cNvSpPr/>
          <p:nvPr/>
        </p:nvSpPr>
        <p:spPr>
          <a:xfrm>
            <a:off x="1454361" y="5413699"/>
            <a:ext cx="1983605" cy="436381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GB" sz="1200" dirty="0">
                <a:solidFill>
                  <a:schemeClr val="accent2"/>
                </a:solidFill>
              </a:rPr>
              <a:t>5,000 – 10,000 compounds</a:t>
            </a: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9380B76E-6C29-40CB-A5C6-01F47C3BC867}"/>
              </a:ext>
            </a:extLst>
          </p:cNvPr>
          <p:cNvSpPr/>
          <p:nvPr/>
        </p:nvSpPr>
        <p:spPr>
          <a:xfrm>
            <a:off x="3437966" y="5412798"/>
            <a:ext cx="1511580" cy="435637"/>
          </a:xfrm>
          <a:prstGeom prst="chevron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GB" sz="1200" dirty="0">
                <a:solidFill>
                  <a:schemeClr val="accent2"/>
                </a:solidFill>
              </a:rPr>
              <a:t>250 compounds</a:t>
            </a:r>
          </a:p>
        </p:txBody>
      </p:sp>
      <p:sp>
        <p:nvSpPr>
          <p:cNvPr id="50" name="Arrow: Chevron 49">
            <a:extLst>
              <a:ext uri="{FF2B5EF4-FFF2-40B4-BE49-F238E27FC236}">
                <a16:creationId xmlns:a16="http://schemas.microsoft.com/office/drawing/2014/main" id="{437DC6D1-1A47-4CBE-AE53-84FF92C9C1D6}"/>
              </a:ext>
            </a:extLst>
          </p:cNvPr>
          <p:cNvSpPr/>
          <p:nvPr/>
        </p:nvSpPr>
        <p:spPr>
          <a:xfrm>
            <a:off x="4979063" y="5419304"/>
            <a:ext cx="2377579" cy="435637"/>
          </a:xfrm>
          <a:prstGeom prst="chevron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algn="ctr"/>
            <a:r>
              <a:rPr lang="en-GB" sz="1200" dirty="0">
                <a:solidFill>
                  <a:schemeClr val="accent2"/>
                </a:solidFill>
              </a:rPr>
              <a:t>5 compound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1304BB-58A1-4A3E-BAFC-8F31355D7AFD}"/>
              </a:ext>
            </a:extLst>
          </p:cNvPr>
          <p:cNvSpPr>
            <a:spLocks/>
          </p:cNvSpPr>
          <p:nvPr/>
        </p:nvSpPr>
        <p:spPr>
          <a:xfrm>
            <a:off x="384694" y="5994579"/>
            <a:ext cx="11338560" cy="365760"/>
          </a:xfrm>
          <a:prstGeom prst="rect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91440" rIns="91440" rtlCol="0" anchor="ctr"/>
          <a:lstStyle/>
          <a:p>
            <a:pPr algn="ctr"/>
            <a:r>
              <a:rPr lang="en-US" sz="1600" b="1" dirty="0"/>
              <a:t>Most drugs have an average marketing life of ~10 years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8F6C013D-91DD-4AAB-A4FC-1B7218F64502}"/>
              </a:ext>
            </a:extLst>
          </p:cNvPr>
          <p:cNvGrpSpPr/>
          <p:nvPr/>
        </p:nvGrpSpPr>
        <p:grpSpPr>
          <a:xfrm>
            <a:off x="331029" y="1316010"/>
            <a:ext cx="11485090" cy="3914905"/>
            <a:chOff x="331029" y="1118667"/>
            <a:chExt cx="11485090" cy="3914905"/>
          </a:xfrm>
        </p:grpSpPr>
        <p:graphicFrame>
          <p:nvGraphicFramePr>
            <p:cNvPr id="77" name="Chart 76">
              <a:extLst>
                <a:ext uri="{FF2B5EF4-FFF2-40B4-BE49-F238E27FC236}">
                  <a16:creationId xmlns:a16="http://schemas.microsoft.com/office/drawing/2014/main" id="{94C18115-8886-41FB-9D69-FF38D09FF2E4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3192272" y="1672353"/>
            <a:ext cx="8348472" cy="333687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78" name="Chart 77">
              <a:extLst>
                <a:ext uri="{FF2B5EF4-FFF2-40B4-BE49-F238E27FC236}">
                  <a16:creationId xmlns:a16="http://schemas.microsoft.com/office/drawing/2014/main" id="{02F548E1-F692-4807-94B8-034DF4207841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331029" y="1761094"/>
            <a:ext cx="11485090" cy="327247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A1DD90E0-0B18-478F-AB09-7925B44D3807}"/>
                </a:ext>
              </a:extLst>
            </p:cNvPr>
            <p:cNvSpPr>
              <a:spLocks/>
            </p:cNvSpPr>
            <p:nvPr/>
          </p:nvSpPr>
          <p:spPr>
            <a:xfrm>
              <a:off x="1869197" y="1118667"/>
              <a:ext cx="8348472" cy="382924"/>
            </a:xfrm>
            <a:prstGeom prst="rect">
              <a:avLst/>
            </a:prstGeom>
            <a:noFill/>
            <a:ln w="19050">
              <a:noFill/>
            </a:ln>
            <a:effectLst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91440" rIns="0" rtlCol="0" anchor="ctr"/>
            <a:lstStyle/>
            <a:p>
              <a:pPr algn="ctr"/>
              <a:r>
                <a:rPr lang="en-US" sz="1600" b="1" dirty="0">
                  <a:solidFill>
                    <a:schemeClr val="accent1"/>
                  </a:solidFill>
                </a:rPr>
                <a:t>Typical drug development process*</a:t>
              </a: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DD6C0AF3-E3E0-4C08-B14F-788A4978414A}"/>
                </a:ext>
              </a:extLst>
            </p:cNvPr>
            <p:cNvGrpSpPr/>
            <p:nvPr/>
          </p:nvGrpSpPr>
          <p:grpSpPr>
            <a:xfrm>
              <a:off x="1454362" y="2320474"/>
              <a:ext cx="9483604" cy="2214084"/>
              <a:chOff x="1198444" y="2910455"/>
              <a:chExt cx="6951257" cy="2034408"/>
            </a:xfrm>
          </p:grpSpPr>
          <p:sp>
            <p:nvSpPr>
              <p:cNvPr id="90" name="Freeform 33">
                <a:extLst>
                  <a:ext uri="{FF2B5EF4-FFF2-40B4-BE49-F238E27FC236}">
                    <a16:creationId xmlns:a16="http://schemas.microsoft.com/office/drawing/2014/main" id="{A31973CD-EEA8-438E-9F56-B18948125484}"/>
                  </a:ext>
                </a:extLst>
              </p:cNvPr>
              <p:cNvSpPr/>
              <p:nvPr/>
            </p:nvSpPr>
            <p:spPr>
              <a:xfrm>
                <a:off x="1198444" y="2956842"/>
                <a:ext cx="5058746" cy="1988021"/>
              </a:xfrm>
              <a:custGeom>
                <a:avLst/>
                <a:gdLst>
                  <a:gd name="connsiteX0" fmla="*/ 0 w 4762500"/>
                  <a:gd name="connsiteY0" fmla="*/ 0 h 2095500"/>
                  <a:gd name="connsiteX1" fmla="*/ 4762500 w 4762500"/>
                  <a:gd name="connsiteY1" fmla="*/ 2095500 h 2095500"/>
                  <a:gd name="connsiteX2" fmla="*/ 19050 w 4762500"/>
                  <a:gd name="connsiteY2" fmla="*/ 2095500 h 2095500"/>
                  <a:gd name="connsiteX3" fmla="*/ 0 w 4762500"/>
                  <a:gd name="connsiteY3" fmla="*/ 0 h 2095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00" h="2095500">
                    <a:moveTo>
                      <a:pt x="0" y="0"/>
                    </a:moveTo>
                    <a:lnTo>
                      <a:pt x="4762500" y="2095500"/>
                    </a:lnTo>
                    <a:lnTo>
                      <a:pt x="19050" y="2095500"/>
                    </a:lnTo>
                    <a:cubicBezTo>
                      <a:pt x="14817" y="1397000"/>
                      <a:pt x="10583" y="698500"/>
                      <a:pt x="0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  <a:alpha val="8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1" name="Freeform 34">
                <a:extLst>
                  <a:ext uri="{FF2B5EF4-FFF2-40B4-BE49-F238E27FC236}">
                    <a16:creationId xmlns:a16="http://schemas.microsoft.com/office/drawing/2014/main" id="{29CFE3B2-60EF-49FD-864F-219BA7E9D6A9}"/>
                  </a:ext>
                </a:extLst>
              </p:cNvPr>
              <p:cNvSpPr/>
              <p:nvPr/>
            </p:nvSpPr>
            <p:spPr>
              <a:xfrm>
                <a:off x="1502508" y="2910455"/>
                <a:ext cx="6647193" cy="2034408"/>
              </a:xfrm>
              <a:custGeom>
                <a:avLst/>
                <a:gdLst>
                  <a:gd name="connsiteX0" fmla="*/ 0 w 6229350"/>
                  <a:gd name="connsiteY0" fmla="*/ 2070100 h 2076450"/>
                  <a:gd name="connsiteX1" fmla="*/ 6229350 w 6229350"/>
                  <a:gd name="connsiteY1" fmla="*/ 0 h 2076450"/>
                  <a:gd name="connsiteX2" fmla="*/ 6210300 w 6229350"/>
                  <a:gd name="connsiteY2" fmla="*/ 2076450 h 2076450"/>
                  <a:gd name="connsiteX3" fmla="*/ 0 w 6229350"/>
                  <a:gd name="connsiteY3" fmla="*/ 2070100 h 2076450"/>
                  <a:gd name="connsiteX0" fmla="*/ 0 w 6229350"/>
                  <a:gd name="connsiteY0" fmla="*/ 2070100 h 2076450"/>
                  <a:gd name="connsiteX1" fmla="*/ 6229350 w 6229350"/>
                  <a:gd name="connsiteY1" fmla="*/ 0 h 2076450"/>
                  <a:gd name="connsiteX2" fmla="*/ 6229350 w 6229350"/>
                  <a:gd name="connsiteY2" fmla="*/ 2076450 h 2076450"/>
                  <a:gd name="connsiteX3" fmla="*/ 0 w 6229350"/>
                  <a:gd name="connsiteY3" fmla="*/ 2070100 h 2076450"/>
                  <a:gd name="connsiteX0" fmla="*/ 0 w 6229350"/>
                  <a:gd name="connsiteY0" fmla="*/ 2080763 h 2080763"/>
                  <a:gd name="connsiteX1" fmla="*/ 6229350 w 6229350"/>
                  <a:gd name="connsiteY1" fmla="*/ 0 h 2080763"/>
                  <a:gd name="connsiteX2" fmla="*/ 6229350 w 6229350"/>
                  <a:gd name="connsiteY2" fmla="*/ 2076450 h 2080763"/>
                  <a:gd name="connsiteX3" fmla="*/ 0 w 6229350"/>
                  <a:gd name="connsiteY3" fmla="*/ 2080763 h 2080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29350" h="2080763">
                    <a:moveTo>
                      <a:pt x="0" y="2080763"/>
                    </a:moveTo>
                    <a:lnTo>
                      <a:pt x="6229350" y="0"/>
                    </a:lnTo>
                    <a:lnTo>
                      <a:pt x="6229350" y="2076450"/>
                    </a:lnTo>
                    <a:lnTo>
                      <a:pt x="0" y="2080763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  <a:alpha val="8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A89D9507-9DE2-4621-8E81-27239257FEDC}"/>
                </a:ext>
              </a:extLst>
            </p:cNvPr>
            <p:cNvCxnSpPr>
              <a:cxnSpLocks/>
            </p:cNvCxnSpPr>
            <p:nvPr/>
          </p:nvCxnSpPr>
          <p:spPr>
            <a:xfrm>
              <a:off x="3437966" y="2162275"/>
              <a:ext cx="0" cy="237600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89AE13B0-5F79-4EFF-9207-02078BA91E01}"/>
                </a:ext>
              </a:extLst>
            </p:cNvPr>
            <p:cNvCxnSpPr>
              <a:cxnSpLocks/>
            </p:cNvCxnSpPr>
            <p:nvPr/>
          </p:nvCxnSpPr>
          <p:spPr>
            <a:xfrm>
              <a:off x="4949546" y="2170654"/>
              <a:ext cx="0" cy="237600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AB65A0F0-0CF2-4EFD-8D4D-A049357943A1}"/>
                </a:ext>
              </a:extLst>
            </p:cNvPr>
            <p:cNvCxnSpPr>
              <a:cxnSpLocks/>
            </p:cNvCxnSpPr>
            <p:nvPr/>
          </p:nvCxnSpPr>
          <p:spPr>
            <a:xfrm>
              <a:off x="7356643" y="2155174"/>
              <a:ext cx="0" cy="237600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B795411D-B84D-41F7-B118-87026C24B224}"/>
                </a:ext>
              </a:extLst>
            </p:cNvPr>
            <p:cNvCxnSpPr>
              <a:cxnSpLocks/>
            </p:cNvCxnSpPr>
            <p:nvPr/>
          </p:nvCxnSpPr>
          <p:spPr>
            <a:xfrm>
              <a:off x="8493731" y="2162275"/>
              <a:ext cx="0" cy="237600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BD7A703A-6905-4AA8-BCD7-DCF2927F2AFD}"/>
                </a:ext>
              </a:extLst>
            </p:cNvPr>
            <p:cNvSpPr txBox="1"/>
            <p:nvPr/>
          </p:nvSpPr>
          <p:spPr>
            <a:xfrm>
              <a:off x="1855977" y="1789941"/>
              <a:ext cx="1113468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Drug discovery</a:t>
              </a:r>
            </a:p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(5 years)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72BAF3FB-448B-4238-9CC2-B9BC6A2E82C1}"/>
                </a:ext>
              </a:extLst>
            </p:cNvPr>
            <p:cNvSpPr txBox="1"/>
            <p:nvPr/>
          </p:nvSpPr>
          <p:spPr>
            <a:xfrm>
              <a:off x="3630489" y="1808170"/>
              <a:ext cx="988535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Pre-clinical</a:t>
              </a:r>
            </a:p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(1-2 years)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98FEF9C-7CD9-4025-B309-648410AC1100}"/>
                </a:ext>
              </a:extLst>
            </p:cNvPr>
            <p:cNvSpPr txBox="1"/>
            <p:nvPr/>
          </p:nvSpPr>
          <p:spPr>
            <a:xfrm>
              <a:off x="5287981" y="1714729"/>
              <a:ext cx="1947627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Clinical Trials: Phase I, Phase II, Phase III</a:t>
              </a:r>
            </a:p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(6 years)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66522643-D38F-4DEA-B924-BF6A693E75DE}"/>
                </a:ext>
              </a:extLst>
            </p:cNvPr>
            <p:cNvSpPr txBox="1"/>
            <p:nvPr/>
          </p:nvSpPr>
          <p:spPr>
            <a:xfrm>
              <a:off x="7320550" y="1747283"/>
              <a:ext cx="1228052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FDA Approval</a:t>
              </a:r>
            </a:p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(6-24 months)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B540430-5963-4FC1-A508-64A29BBD0640}"/>
                </a:ext>
              </a:extLst>
            </p:cNvPr>
            <p:cNvSpPr txBox="1"/>
            <p:nvPr/>
          </p:nvSpPr>
          <p:spPr>
            <a:xfrm>
              <a:off x="7277192" y="2168806"/>
              <a:ext cx="130164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EMA Approval</a:t>
              </a:r>
            </a:p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(7-15 month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622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34125807-EE80-4376-9E26-766CD19D004B}"/>
              </a:ext>
            </a:extLst>
          </p:cNvPr>
          <p:cNvSpPr/>
          <p:nvPr/>
        </p:nvSpPr>
        <p:spPr>
          <a:xfrm>
            <a:off x="0" y="1181837"/>
            <a:ext cx="12126239" cy="520833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  <a:alpha val="0"/>
                </a:schemeClr>
              </a:gs>
              <a:gs pos="50000">
                <a:schemeClr val="bg1">
                  <a:lumMod val="95000"/>
                  <a:shade val="67500"/>
                  <a:satMod val="115000"/>
                  <a:alpha val="44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4953E99-5ACE-4573-BDA0-5D0FFB6EA56F}"/>
              </a:ext>
            </a:extLst>
          </p:cNvPr>
          <p:cNvSpPr/>
          <p:nvPr/>
        </p:nvSpPr>
        <p:spPr>
          <a:xfrm>
            <a:off x="3407412" y="2337955"/>
            <a:ext cx="2712691" cy="394079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  <a:alpha val="0"/>
                </a:schemeClr>
              </a:gs>
              <a:gs pos="50000">
                <a:schemeClr val="bg1">
                  <a:lumMod val="95000"/>
                  <a:shade val="67500"/>
                  <a:satMod val="115000"/>
                  <a:alpha val="44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4CB3B75-4003-429D-8395-1833C61CD160}"/>
              </a:ext>
            </a:extLst>
          </p:cNvPr>
          <p:cNvSpPr/>
          <p:nvPr/>
        </p:nvSpPr>
        <p:spPr>
          <a:xfrm>
            <a:off x="6376934" y="1930060"/>
            <a:ext cx="2727703" cy="4356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  <a:alpha val="0"/>
                </a:schemeClr>
              </a:gs>
              <a:gs pos="50000">
                <a:schemeClr val="bg1">
                  <a:lumMod val="95000"/>
                  <a:shade val="67500"/>
                  <a:satMod val="115000"/>
                  <a:alpha val="44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D6E7A189-69F1-49BD-9BD1-BF0DF7119C65}"/>
              </a:ext>
            </a:extLst>
          </p:cNvPr>
          <p:cNvSpPr/>
          <p:nvPr/>
        </p:nvSpPr>
        <p:spPr>
          <a:xfrm>
            <a:off x="9305733" y="1616510"/>
            <a:ext cx="2760371" cy="466224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  <a:alpha val="0"/>
                </a:schemeClr>
              </a:gs>
              <a:gs pos="50000">
                <a:schemeClr val="bg1">
                  <a:lumMod val="95000"/>
                  <a:shade val="67500"/>
                  <a:satMod val="115000"/>
                  <a:alpha val="44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EE122A-DECD-4C5A-A973-1B76F87B0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1828800" rtl="0" eaLnBrk="1" latinLnBrk="0" hangingPunct="1"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E3416C24-CE6A-4384-99F9-3C13D5393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132" y="0"/>
            <a:ext cx="11638107" cy="768263"/>
          </a:xfrm>
        </p:spPr>
        <p:txBody>
          <a:bodyPr>
            <a:noAutofit/>
          </a:bodyPr>
          <a:lstStyle/>
          <a:p>
            <a:r>
              <a:rPr lang="en-US" b="1" dirty="0">
                <a:solidFill>
                  <a:schemeClr val="tx2"/>
                </a:solidFill>
                <a:cs typeface="Arial" panose="020B0604020202020204" pitchFamily="34" charset="0"/>
              </a:rPr>
              <a:t>How is the clinical development world changing?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89583C9-688B-4F92-9734-EE1C998B801A}"/>
              </a:ext>
            </a:extLst>
          </p:cNvPr>
          <p:cNvGrpSpPr/>
          <p:nvPr/>
        </p:nvGrpSpPr>
        <p:grpSpPr>
          <a:xfrm>
            <a:off x="-2650650" y="1190075"/>
            <a:ext cx="5848592" cy="5913014"/>
            <a:chOff x="-5045642" y="4533377"/>
            <a:chExt cx="10249932" cy="10362834"/>
          </a:xfrm>
        </p:grpSpPr>
        <p:sp>
          <p:nvSpPr>
            <p:cNvPr id="34" name="Pie 18">
              <a:extLst>
                <a:ext uri="{FF2B5EF4-FFF2-40B4-BE49-F238E27FC236}">
                  <a16:creationId xmlns:a16="http://schemas.microsoft.com/office/drawing/2014/main" id="{17CC2644-F436-4D8A-97C9-E652BB68339D}"/>
                </a:ext>
              </a:extLst>
            </p:cNvPr>
            <p:cNvSpPr/>
            <p:nvPr/>
          </p:nvSpPr>
          <p:spPr>
            <a:xfrm>
              <a:off x="-3171255" y="6272933"/>
              <a:ext cx="6521464" cy="7178585"/>
            </a:xfrm>
            <a:prstGeom prst="pie">
              <a:avLst>
                <a:gd name="adj1" fmla="val 0"/>
                <a:gd name="adj2" fmla="val 5471729"/>
              </a:avLst>
            </a:prstGeom>
            <a:solidFill>
              <a:srgbClr val="00A3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5" name="Pie 20">
              <a:extLst>
                <a:ext uri="{FF2B5EF4-FFF2-40B4-BE49-F238E27FC236}">
                  <a16:creationId xmlns:a16="http://schemas.microsoft.com/office/drawing/2014/main" id="{58A5CFC6-7CE2-495D-A61B-F5EF6619EA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90828" y="6272934"/>
              <a:ext cx="8084281" cy="7654238"/>
            </a:xfrm>
            <a:prstGeom prst="pie">
              <a:avLst>
                <a:gd name="adj1" fmla="val 0"/>
                <a:gd name="adj2" fmla="val 3020453"/>
              </a:avLst>
            </a:prstGeom>
            <a:solidFill>
              <a:srgbClr val="0055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6" name="Pie 21">
              <a:extLst>
                <a:ext uri="{FF2B5EF4-FFF2-40B4-BE49-F238E27FC236}">
                  <a16:creationId xmlns:a16="http://schemas.microsoft.com/office/drawing/2014/main" id="{90827B50-2DA5-4F9F-B3DD-56C85750AA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229135" y="6186097"/>
              <a:ext cx="7700925" cy="7785750"/>
            </a:xfrm>
            <a:prstGeom prst="pie">
              <a:avLst>
                <a:gd name="adj1" fmla="val 19828847"/>
                <a:gd name="adj2" fmla="val 1138021"/>
              </a:avLst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7" name="Pie 22">
              <a:extLst>
                <a:ext uri="{FF2B5EF4-FFF2-40B4-BE49-F238E27FC236}">
                  <a16:creationId xmlns:a16="http://schemas.microsoft.com/office/drawing/2014/main" id="{70F1FAEA-4B17-4132-A4D8-EAB479E8EF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723506" y="5671314"/>
              <a:ext cx="8471017" cy="8564324"/>
            </a:xfrm>
            <a:prstGeom prst="pie">
              <a:avLst>
                <a:gd name="adj1" fmla="val 18207794"/>
                <a:gd name="adj2" fmla="val 21342013"/>
              </a:avLst>
            </a:prstGeom>
            <a:solidFill>
              <a:srgbClr val="00A3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8" name="Pie 23">
              <a:extLst>
                <a:ext uri="{FF2B5EF4-FFF2-40B4-BE49-F238E27FC236}">
                  <a16:creationId xmlns:a16="http://schemas.microsoft.com/office/drawing/2014/main" id="{B040E550-7D05-4195-BDFC-AAA1056B529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4227676" y="5512429"/>
              <a:ext cx="9318120" cy="8564324"/>
            </a:xfrm>
            <a:prstGeom prst="pie">
              <a:avLst>
                <a:gd name="adj1" fmla="val 17662552"/>
                <a:gd name="adj2" fmla="val 19815597"/>
              </a:avLst>
            </a:prstGeom>
            <a:solidFill>
              <a:srgbClr val="0055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9" name="Pie 23">
              <a:extLst>
                <a:ext uri="{FF2B5EF4-FFF2-40B4-BE49-F238E27FC236}">
                  <a16:creationId xmlns:a16="http://schemas.microsoft.com/office/drawing/2014/main" id="{ED06E673-A26B-4202-BB9A-72985473C4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4511698" y="4787621"/>
              <a:ext cx="9318120" cy="9420758"/>
            </a:xfrm>
            <a:prstGeom prst="pie">
              <a:avLst>
                <a:gd name="adj1" fmla="val 17038356"/>
                <a:gd name="adj2" fmla="val 188513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0" name="Pie 24">
              <a:extLst>
                <a:ext uri="{FF2B5EF4-FFF2-40B4-BE49-F238E27FC236}">
                  <a16:creationId xmlns:a16="http://schemas.microsoft.com/office/drawing/2014/main" id="{947DFE15-6BBE-4947-AF9F-CB68668F1E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5045642" y="4533377"/>
              <a:ext cx="10249932" cy="10362834"/>
            </a:xfrm>
            <a:prstGeom prst="pie">
              <a:avLst>
                <a:gd name="adj1" fmla="val 16176090"/>
                <a:gd name="adj2" fmla="val 17519434"/>
              </a:avLst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Pie 26">
              <a:extLst>
                <a:ext uri="{FF2B5EF4-FFF2-40B4-BE49-F238E27FC236}">
                  <a16:creationId xmlns:a16="http://schemas.microsoft.com/office/drawing/2014/main" id="{418BE819-25FA-44E4-8C00-163497C66E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1642843" y="7376509"/>
              <a:ext cx="3438264" cy="3476136"/>
            </a:xfrm>
            <a:prstGeom prst="pie">
              <a:avLst>
                <a:gd name="adj1" fmla="val 16154176"/>
                <a:gd name="adj2" fmla="val 5461931"/>
              </a:avLst>
            </a:prstGeom>
            <a:solidFill>
              <a:schemeClr val="bg1"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Pie 28">
              <a:extLst>
                <a:ext uri="{FF2B5EF4-FFF2-40B4-BE49-F238E27FC236}">
                  <a16:creationId xmlns:a16="http://schemas.microsoft.com/office/drawing/2014/main" id="{0081A0D9-7CC4-4EFD-9A44-2E5780FAAC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1303397" y="7842385"/>
              <a:ext cx="2544382" cy="2544382"/>
            </a:xfrm>
            <a:prstGeom prst="pie">
              <a:avLst>
                <a:gd name="adj1" fmla="val 16154176"/>
                <a:gd name="adj2" fmla="val 546193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en-US" sz="1600" dirty="0" err="1">
                <a:solidFill>
                  <a:srgbClr val="2B3A42"/>
                </a:solidFill>
                <a:latin typeface="Arial" panose="020B0604020202020204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7D17E8C-EF5D-4BE5-A2B5-162D0D954608}"/>
                </a:ext>
              </a:extLst>
            </p:cNvPr>
            <p:cNvSpPr txBox="1"/>
            <p:nvPr/>
          </p:nvSpPr>
          <p:spPr>
            <a:xfrm rot="3547580">
              <a:off x="-288734" y="11855414"/>
              <a:ext cx="2321077" cy="593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Automatio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AE32857-1733-4971-AC02-B33E8F57D13D}"/>
                </a:ext>
              </a:extLst>
            </p:cNvPr>
            <p:cNvSpPr txBox="1"/>
            <p:nvPr/>
          </p:nvSpPr>
          <p:spPr>
            <a:xfrm rot="17008947">
              <a:off x="-422379" y="5672632"/>
              <a:ext cx="2480083" cy="593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Virtual Trial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412D07C-144B-4DA3-9231-FDC9E6D660B5}"/>
                </a:ext>
              </a:extLst>
            </p:cNvPr>
            <p:cNvSpPr txBox="1"/>
            <p:nvPr/>
          </p:nvSpPr>
          <p:spPr>
            <a:xfrm rot="18445420">
              <a:off x="644294" y="6396015"/>
              <a:ext cx="2759332" cy="593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ICH E6 and E9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CD4844F-A2B7-4D7E-820B-1BC4E7694C5B}"/>
                </a:ext>
              </a:extLst>
            </p:cNvPr>
            <p:cNvSpPr txBox="1"/>
            <p:nvPr/>
          </p:nvSpPr>
          <p:spPr>
            <a:xfrm rot="19379661">
              <a:off x="1314889" y="7238125"/>
              <a:ext cx="3417090" cy="593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Adaptive Design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B996FE8-91E6-4B96-BEE2-4115B0DE5F75}"/>
                </a:ext>
              </a:extLst>
            </p:cNvPr>
            <p:cNvSpPr txBox="1"/>
            <p:nvPr/>
          </p:nvSpPr>
          <p:spPr>
            <a:xfrm rot="21019531">
              <a:off x="1990443" y="8412385"/>
              <a:ext cx="2618063" cy="14563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Data Driven</a:t>
              </a:r>
            </a:p>
            <a:p>
              <a:r>
                <a:rPr lang="en-US" sz="1600" b="1" dirty="0">
                  <a:solidFill>
                    <a:schemeClr val="bg1"/>
                  </a:solidFill>
                </a:rPr>
                <a:t> Trial Executio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7E07FFF-FA16-4EC7-B118-1AD4E7CDE310}"/>
                </a:ext>
              </a:extLst>
            </p:cNvPr>
            <p:cNvSpPr txBox="1"/>
            <p:nvPr/>
          </p:nvSpPr>
          <p:spPr>
            <a:xfrm rot="2854117">
              <a:off x="1275662" y="10995729"/>
              <a:ext cx="2360407" cy="10248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Risk Based </a:t>
              </a:r>
            </a:p>
            <a:p>
              <a:r>
                <a:rPr lang="en-US" sz="1600" b="1" dirty="0">
                  <a:solidFill>
                    <a:schemeClr val="bg1"/>
                  </a:solidFill>
                </a:rPr>
                <a:t>Monitoring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B9F80BC-2B5F-4BE6-B401-9DD9BEB563FB}"/>
                </a:ext>
              </a:extLst>
            </p:cNvPr>
            <p:cNvSpPr txBox="1"/>
            <p:nvPr/>
          </p:nvSpPr>
          <p:spPr>
            <a:xfrm rot="488449">
              <a:off x="2226739" y="9833487"/>
              <a:ext cx="2138468" cy="10248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Advanced </a:t>
              </a: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Analytics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59B06068-21D5-43A6-ABAF-51B99DA29934}"/>
              </a:ext>
            </a:extLst>
          </p:cNvPr>
          <p:cNvSpPr txBox="1"/>
          <p:nvPr/>
        </p:nvSpPr>
        <p:spPr>
          <a:xfrm rot="16200000">
            <a:off x="-263307" y="3448112"/>
            <a:ext cx="137890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tx2"/>
                </a:solidFill>
              </a:rPr>
              <a:t>Industry </a:t>
            </a:r>
          </a:p>
          <a:p>
            <a:pPr algn="ctr"/>
            <a:r>
              <a:rPr lang="en-US" sz="2200" b="1" dirty="0">
                <a:solidFill>
                  <a:schemeClr val="tx2"/>
                </a:solidFill>
              </a:rPr>
              <a:t>Trend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5DC9382-9811-4DBB-B974-4417A23FD598}"/>
              </a:ext>
            </a:extLst>
          </p:cNvPr>
          <p:cNvSpPr txBox="1"/>
          <p:nvPr/>
        </p:nvSpPr>
        <p:spPr>
          <a:xfrm>
            <a:off x="5621569" y="1231789"/>
            <a:ext cx="66115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b="1" dirty="0">
                <a:solidFill>
                  <a:schemeClr val="tx2"/>
                </a:solidFill>
              </a:rPr>
              <a:t>Evolution of  Connected Health in Clinical Trial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9CA103D-8A27-4588-9204-F9D313C61A76}"/>
              </a:ext>
            </a:extLst>
          </p:cNvPr>
          <p:cNvSpPr txBox="1"/>
          <p:nvPr/>
        </p:nvSpPr>
        <p:spPr>
          <a:xfrm flipH="1">
            <a:off x="3279842" y="4267886"/>
            <a:ext cx="523220" cy="2259138"/>
          </a:xfrm>
          <a:prstGeom prst="rect">
            <a:avLst/>
          </a:prstGeom>
          <a:noFill/>
        </p:spPr>
        <p:txBody>
          <a:bodyPr vert="vert270" wrap="square" rtlCol="0" anchor="ctr">
            <a:spAutoFit/>
          </a:bodyPr>
          <a:lstStyle/>
          <a:p>
            <a:pPr algn="r"/>
            <a:r>
              <a:rPr lang="en-US" sz="2200" b="1" dirty="0">
                <a:solidFill>
                  <a:schemeClr val="accent6"/>
                </a:solidFill>
              </a:rPr>
              <a:t>Yesterday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962CE9F-0E25-4B37-81DE-F1F6389FAFEB}"/>
              </a:ext>
            </a:extLst>
          </p:cNvPr>
          <p:cNvSpPr txBox="1"/>
          <p:nvPr/>
        </p:nvSpPr>
        <p:spPr>
          <a:xfrm>
            <a:off x="9160760" y="3638790"/>
            <a:ext cx="523220" cy="1656216"/>
          </a:xfrm>
          <a:prstGeom prst="rect">
            <a:avLst/>
          </a:prstGeom>
          <a:noFill/>
        </p:spPr>
        <p:txBody>
          <a:bodyPr vert="vert270" wrap="square" rtlCol="0" anchor="ctr">
            <a:spAutoFit/>
          </a:bodyPr>
          <a:lstStyle/>
          <a:p>
            <a:pPr algn="r"/>
            <a:r>
              <a:rPr lang="en-US" sz="2200" b="1" dirty="0">
                <a:solidFill>
                  <a:schemeClr val="accent2"/>
                </a:solidFill>
              </a:rPr>
              <a:t>Tomorrow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B6D643D-9FD9-46C1-B3EF-41CF4497D621}"/>
              </a:ext>
            </a:extLst>
          </p:cNvPr>
          <p:cNvSpPr/>
          <p:nvPr/>
        </p:nvSpPr>
        <p:spPr>
          <a:xfrm>
            <a:off x="3733459" y="4447396"/>
            <a:ext cx="1333359" cy="116270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CCB2805-2D95-4E56-B518-D4876BE5AA2A}"/>
              </a:ext>
            </a:extLst>
          </p:cNvPr>
          <p:cNvSpPr/>
          <p:nvPr/>
        </p:nvSpPr>
        <p:spPr>
          <a:xfrm>
            <a:off x="9588706" y="3828113"/>
            <a:ext cx="1333359" cy="11627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1D88BFF-D457-4066-9E34-D1ABEFB2C1EA}"/>
              </a:ext>
            </a:extLst>
          </p:cNvPr>
          <p:cNvSpPr txBox="1"/>
          <p:nvPr/>
        </p:nvSpPr>
        <p:spPr>
          <a:xfrm>
            <a:off x="9807126" y="4004090"/>
            <a:ext cx="2101238" cy="1877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Trials moving to Patient Homes</a:t>
            </a:r>
          </a:p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Studies designed around patient needs</a:t>
            </a:r>
          </a:p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360</a:t>
            </a:r>
            <a:r>
              <a:rPr lang="en-US" sz="1200" baseline="30000" dirty="0"/>
              <a:t>o</a:t>
            </a:r>
            <a:r>
              <a:rPr lang="en-US" sz="1200" dirty="0"/>
              <a:t> view of patient record </a:t>
            </a:r>
          </a:p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Deeper insights from integrated data</a:t>
            </a:r>
          </a:p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Predictive analytics</a:t>
            </a:r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208CC1FF-A5D5-47A7-BB08-B42C8AE710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72357" y="2462985"/>
            <a:ext cx="2186621" cy="1976643"/>
          </a:xfrm>
          <a:prstGeom prst="rect">
            <a:avLst/>
          </a:prstGeom>
          <a:ln w="76200">
            <a:solidFill>
              <a:schemeClr val="accent6"/>
            </a:solidFill>
          </a:ln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6E72740B-BBA3-42E8-B1AF-DAF618D1D758}"/>
              </a:ext>
            </a:extLst>
          </p:cNvPr>
          <p:cNvSpPr txBox="1"/>
          <p:nvPr/>
        </p:nvSpPr>
        <p:spPr>
          <a:xfrm>
            <a:off x="6269082" y="4409085"/>
            <a:ext cx="523220" cy="1366388"/>
          </a:xfrm>
          <a:prstGeom prst="rect">
            <a:avLst/>
          </a:prstGeom>
          <a:noFill/>
        </p:spPr>
        <p:txBody>
          <a:bodyPr vert="vert270" wrap="square" rtlCol="0" anchor="ctr">
            <a:spAutoFit/>
          </a:bodyPr>
          <a:lstStyle/>
          <a:p>
            <a:pPr algn="r"/>
            <a:r>
              <a:rPr lang="en-US" sz="2200" b="1" dirty="0">
                <a:solidFill>
                  <a:schemeClr val="accent3"/>
                </a:solidFill>
              </a:rPr>
              <a:t>Today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9D01EE3-5F5D-4EA3-8C4B-81BB6ECEA6A0}"/>
              </a:ext>
            </a:extLst>
          </p:cNvPr>
          <p:cNvSpPr/>
          <p:nvPr/>
        </p:nvSpPr>
        <p:spPr>
          <a:xfrm>
            <a:off x="6674776" y="4031819"/>
            <a:ext cx="1333359" cy="1162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BA519E82-3A7A-4425-97BA-06DF50159F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19267" y="2033567"/>
            <a:ext cx="2225101" cy="1976643"/>
          </a:xfrm>
          <a:prstGeom prst="rect">
            <a:avLst/>
          </a:prstGeom>
          <a:ln w="76200">
            <a:solidFill>
              <a:schemeClr val="accent3"/>
            </a:solidFill>
          </a:ln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223E9196-EAFA-465C-9C81-D1A36632910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29976" y="1707013"/>
            <a:ext cx="2278388" cy="2092880"/>
          </a:xfrm>
          <a:prstGeom prst="rect">
            <a:avLst/>
          </a:prstGeom>
          <a:ln w="76200">
            <a:solidFill>
              <a:schemeClr val="accent2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544B99B-F43F-4611-94F1-813DB4820222}"/>
              </a:ext>
            </a:extLst>
          </p:cNvPr>
          <p:cNvSpPr/>
          <p:nvPr/>
        </p:nvSpPr>
        <p:spPr>
          <a:xfrm>
            <a:off x="6887594" y="4196266"/>
            <a:ext cx="2065020" cy="19105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D7A6D66-77B8-423A-99C5-3F4FC281626C}"/>
              </a:ext>
            </a:extLst>
          </p:cNvPr>
          <p:cNvSpPr txBox="1"/>
          <p:nvPr/>
        </p:nvSpPr>
        <p:spPr>
          <a:xfrm>
            <a:off x="6928363" y="4458964"/>
            <a:ext cx="1997674" cy="1673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Accelerated number of devices</a:t>
            </a:r>
          </a:p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Moving closer to the patient</a:t>
            </a:r>
          </a:p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Real-time, continuous data collection</a:t>
            </a:r>
          </a:p>
          <a:p>
            <a:pPr marL="119063" indent="-119063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Longitudinal monitoring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897C8D9-3A2E-4BE8-8ECE-9F3A9AF47E59}"/>
              </a:ext>
            </a:extLst>
          </p:cNvPr>
          <p:cNvSpPr/>
          <p:nvPr/>
        </p:nvSpPr>
        <p:spPr>
          <a:xfrm>
            <a:off x="3920569" y="4628386"/>
            <a:ext cx="2059674" cy="15386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89DD344-2379-4798-9D0B-6460A3095645}"/>
              </a:ext>
            </a:extLst>
          </p:cNvPr>
          <p:cNvSpPr txBox="1"/>
          <p:nvPr/>
        </p:nvSpPr>
        <p:spPr>
          <a:xfrm>
            <a:off x="3932816" y="4535932"/>
            <a:ext cx="2035407" cy="169277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Trials in hospitals</a:t>
            </a:r>
          </a:p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Investigator Controlled</a:t>
            </a:r>
          </a:p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Episodic data collection</a:t>
            </a:r>
          </a:p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Periodic data transfer at site</a:t>
            </a:r>
          </a:p>
          <a:p>
            <a:pPr marL="119063" indent="-1190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Isolated snapshots of patient health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EE1E947D-66C1-488B-A8DB-95642882283D}"/>
              </a:ext>
            </a:extLst>
          </p:cNvPr>
          <p:cNvSpPr txBox="1">
            <a:spLocks/>
          </p:cNvSpPr>
          <p:nvPr/>
        </p:nvSpPr>
        <p:spPr>
          <a:xfrm>
            <a:off x="488132" y="751182"/>
            <a:ext cx="11439038" cy="4090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i="1" dirty="0">
                <a:solidFill>
                  <a:schemeClr val="accent1"/>
                </a:solidFill>
              </a:rPr>
              <a:t>Focusing research and accelerating development speed with technology</a:t>
            </a:r>
          </a:p>
        </p:txBody>
      </p:sp>
    </p:spTree>
    <p:extLst>
      <p:ext uri="{BB962C8B-B14F-4D97-AF65-F5344CB8AC3E}">
        <p14:creationId xmlns:p14="http://schemas.microsoft.com/office/powerpoint/2010/main" val="3662801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-22776"/>
            <a:ext cx="13005652" cy="593841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  <a:cs typeface="Arial" panose="020B0604020202020204" pitchFamily="34" charset="0"/>
              </a:rPr>
              <a:t>How is technology transforming the clinical development world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3" name="Straight Connector 212"/>
          <p:cNvCxnSpPr/>
          <p:nvPr/>
        </p:nvCxnSpPr>
        <p:spPr>
          <a:xfrm>
            <a:off x="8859115" y="3481606"/>
            <a:ext cx="2042964" cy="8628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/>
          <p:cNvCxnSpPr>
            <a:stCxn id="145" idx="3"/>
            <a:endCxn id="144" idx="1"/>
          </p:cNvCxnSpPr>
          <p:nvPr/>
        </p:nvCxnSpPr>
        <p:spPr>
          <a:xfrm>
            <a:off x="9806395" y="3076246"/>
            <a:ext cx="0" cy="164323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/>
          <p:cNvCxnSpPr/>
          <p:nvPr/>
        </p:nvCxnSpPr>
        <p:spPr>
          <a:xfrm flipH="1">
            <a:off x="8787530" y="3435224"/>
            <a:ext cx="2019236" cy="94480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Oval 122"/>
          <p:cNvSpPr/>
          <p:nvPr/>
        </p:nvSpPr>
        <p:spPr>
          <a:xfrm>
            <a:off x="8206194" y="2257832"/>
            <a:ext cx="3200400" cy="3200400"/>
          </a:xfrm>
          <a:prstGeom prst="ellipse">
            <a:avLst/>
          </a:prstGeom>
          <a:noFill/>
          <a:ln w="38100" cap="flat">
            <a:solidFill>
              <a:schemeClr val="bg1">
                <a:lumMod val="5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180" name="Group 179"/>
          <p:cNvGrpSpPr/>
          <p:nvPr/>
        </p:nvGrpSpPr>
        <p:grpSpPr>
          <a:xfrm>
            <a:off x="10675464" y="4101728"/>
            <a:ext cx="1220897" cy="1220897"/>
            <a:chOff x="5485551" y="1202854"/>
            <a:chExt cx="1220897" cy="1220897"/>
          </a:xfrm>
        </p:grpSpPr>
        <p:sp>
          <p:nvSpPr>
            <p:cNvPr id="141" name="Freeform 140"/>
            <p:cNvSpPr/>
            <p:nvPr/>
          </p:nvSpPr>
          <p:spPr>
            <a:xfrm>
              <a:off x="5485551" y="1202854"/>
              <a:ext cx="1220897" cy="1220897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1816" tIns="211816" rIns="211816" bIns="211816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600" kern="1200" dirty="0"/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5792230" y="1977088"/>
              <a:ext cx="607539" cy="3323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lvl="0" algn="ctr" defTabSz="12446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200" b="1" dirty="0"/>
                <a:t>Medical </a:t>
              </a:r>
              <a:br>
                <a:rPr lang="en-US" sz="1200" b="1" dirty="0"/>
              </a:br>
              <a:r>
                <a:rPr lang="en-US" sz="1200" b="1" dirty="0"/>
                <a:t>Devices</a:t>
              </a:r>
            </a:p>
          </p:txBody>
        </p:sp>
      </p:grpSp>
      <p:sp>
        <p:nvSpPr>
          <p:cNvPr id="142" name="Freeform 141"/>
          <p:cNvSpPr/>
          <p:nvPr/>
        </p:nvSpPr>
        <p:spPr>
          <a:xfrm>
            <a:off x="7712845" y="2549805"/>
            <a:ext cx="1220897" cy="1220897"/>
          </a:xfrm>
          <a:custGeom>
            <a:avLst/>
            <a:gdLst>
              <a:gd name="connsiteX0" fmla="*/ 0 w 1220897"/>
              <a:gd name="connsiteY0" fmla="*/ 610449 h 1220897"/>
              <a:gd name="connsiteX1" fmla="*/ 610449 w 1220897"/>
              <a:gd name="connsiteY1" fmla="*/ 0 h 1220897"/>
              <a:gd name="connsiteX2" fmla="*/ 1220898 w 1220897"/>
              <a:gd name="connsiteY2" fmla="*/ 610449 h 1220897"/>
              <a:gd name="connsiteX3" fmla="*/ 610449 w 1220897"/>
              <a:gd name="connsiteY3" fmla="*/ 1220898 h 1220897"/>
              <a:gd name="connsiteX4" fmla="*/ 0 w 1220897"/>
              <a:gd name="connsiteY4" fmla="*/ 610449 h 1220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897" h="1220897">
                <a:moveTo>
                  <a:pt x="0" y="610449"/>
                </a:moveTo>
                <a:cubicBezTo>
                  <a:pt x="0" y="273307"/>
                  <a:pt x="273307" y="0"/>
                  <a:pt x="610449" y="0"/>
                </a:cubicBezTo>
                <a:cubicBezTo>
                  <a:pt x="947591" y="0"/>
                  <a:pt x="1220898" y="273307"/>
                  <a:pt x="1220898" y="610449"/>
                </a:cubicBezTo>
                <a:cubicBezTo>
                  <a:pt x="1220898" y="947591"/>
                  <a:pt x="947591" y="1220898"/>
                  <a:pt x="610449" y="1220898"/>
                </a:cubicBezTo>
                <a:cubicBezTo>
                  <a:pt x="273307" y="1220898"/>
                  <a:pt x="0" y="947591"/>
                  <a:pt x="0" y="610449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1816" tIns="211816" rIns="211816" bIns="211816" numCol="1" spcCol="1270" anchor="ctr" anchorCtr="0">
            <a:noAutofit/>
          </a:bodyPr>
          <a:lstStyle/>
          <a:p>
            <a:pPr lvl="0" algn="ctr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600" kern="1200" dirty="0"/>
          </a:p>
        </p:txBody>
      </p:sp>
      <p:sp>
        <p:nvSpPr>
          <p:cNvPr id="163" name="Rectangle 162"/>
          <p:cNvSpPr/>
          <p:nvPr/>
        </p:nvSpPr>
        <p:spPr>
          <a:xfrm>
            <a:off x="7994678" y="3315407"/>
            <a:ext cx="657231" cy="3323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algn="ctr" defTabSz="1244600">
              <a:lnSpc>
                <a:spcPct val="90000"/>
              </a:lnSpc>
              <a:spcAft>
                <a:spcPct val="35000"/>
              </a:spcAft>
            </a:pPr>
            <a:r>
              <a:rPr lang="en-US" sz="1200" b="1" dirty="0"/>
              <a:t>Patient </a:t>
            </a:r>
            <a:br>
              <a:rPr lang="en-US" sz="1200" b="1" dirty="0"/>
            </a:br>
            <a:r>
              <a:rPr lang="en-US" sz="1200" b="1" dirty="0"/>
              <a:t>Behavior</a:t>
            </a:r>
          </a:p>
        </p:txBody>
      </p:sp>
      <p:sp>
        <p:nvSpPr>
          <p:cNvPr id="143" name="Freeform 142"/>
          <p:cNvSpPr/>
          <p:nvPr/>
        </p:nvSpPr>
        <p:spPr>
          <a:xfrm>
            <a:off x="7729361" y="4085051"/>
            <a:ext cx="1247741" cy="1220897"/>
          </a:xfrm>
          <a:custGeom>
            <a:avLst/>
            <a:gdLst>
              <a:gd name="connsiteX0" fmla="*/ 0 w 1220897"/>
              <a:gd name="connsiteY0" fmla="*/ 610449 h 1220897"/>
              <a:gd name="connsiteX1" fmla="*/ 610449 w 1220897"/>
              <a:gd name="connsiteY1" fmla="*/ 0 h 1220897"/>
              <a:gd name="connsiteX2" fmla="*/ 1220898 w 1220897"/>
              <a:gd name="connsiteY2" fmla="*/ 610449 h 1220897"/>
              <a:gd name="connsiteX3" fmla="*/ 610449 w 1220897"/>
              <a:gd name="connsiteY3" fmla="*/ 1220898 h 1220897"/>
              <a:gd name="connsiteX4" fmla="*/ 0 w 1220897"/>
              <a:gd name="connsiteY4" fmla="*/ 610449 h 1220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897" h="1220897">
                <a:moveTo>
                  <a:pt x="0" y="610449"/>
                </a:moveTo>
                <a:cubicBezTo>
                  <a:pt x="0" y="273307"/>
                  <a:pt x="273307" y="0"/>
                  <a:pt x="610449" y="0"/>
                </a:cubicBezTo>
                <a:cubicBezTo>
                  <a:pt x="947591" y="0"/>
                  <a:pt x="1220898" y="273307"/>
                  <a:pt x="1220898" y="610449"/>
                </a:cubicBezTo>
                <a:cubicBezTo>
                  <a:pt x="1220898" y="947591"/>
                  <a:pt x="947591" y="1220898"/>
                  <a:pt x="610449" y="1220898"/>
                </a:cubicBezTo>
                <a:cubicBezTo>
                  <a:pt x="273307" y="1220898"/>
                  <a:pt x="0" y="947591"/>
                  <a:pt x="0" y="610449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8646" tIns="248646" rIns="248646" bIns="248646" numCol="1" spcCol="1270" anchor="ctr" anchorCtr="0">
            <a:noAutofit/>
          </a:bodyPr>
          <a:lstStyle/>
          <a:p>
            <a:pPr lvl="0" algn="ctr" defTabSz="2444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500" kern="1200" dirty="0"/>
          </a:p>
        </p:txBody>
      </p:sp>
      <p:sp>
        <p:nvSpPr>
          <p:cNvPr id="171" name="Rectangle 170"/>
          <p:cNvSpPr/>
          <p:nvPr/>
        </p:nvSpPr>
        <p:spPr>
          <a:xfrm>
            <a:off x="7895902" y="4889610"/>
            <a:ext cx="963213" cy="1661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algn="ctr" defTabSz="1244600">
              <a:lnSpc>
                <a:spcPct val="90000"/>
              </a:lnSpc>
              <a:spcAft>
                <a:spcPct val="35000"/>
              </a:spcAft>
            </a:pPr>
            <a:r>
              <a:rPr lang="en-US" sz="1200" b="1" dirty="0"/>
              <a:t>Telemedicine</a:t>
            </a:r>
          </a:p>
        </p:txBody>
      </p:sp>
      <p:grpSp>
        <p:nvGrpSpPr>
          <p:cNvPr id="204" name="Group 203"/>
          <p:cNvGrpSpPr/>
          <p:nvPr/>
        </p:nvGrpSpPr>
        <p:grpSpPr>
          <a:xfrm>
            <a:off x="9195946" y="4719485"/>
            <a:ext cx="1220897" cy="1220897"/>
            <a:chOff x="8990929" y="4639946"/>
            <a:chExt cx="1220897" cy="1220897"/>
          </a:xfrm>
        </p:grpSpPr>
        <p:sp>
          <p:nvSpPr>
            <p:cNvPr id="144" name="Freeform 143"/>
            <p:cNvSpPr/>
            <p:nvPr/>
          </p:nvSpPr>
          <p:spPr>
            <a:xfrm>
              <a:off x="8990929" y="4639946"/>
              <a:ext cx="1220897" cy="1220897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8646" tIns="248646" rIns="248646" bIns="248646" numCol="1" spcCol="1270" anchor="ctr" anchorCtr="0">
              <a:noAutofit/>
            </a:bodyPr>
            <a:lstStyle/>
            <a:p>
              <a:pPr lvl="0" algn="ctr" defTabSz="2444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5500" kern="1200" dirty="0"/>
            </a:p>
          </p:txBody>
        </p:sp>
        <p:grpSp>
          <p:nvGrpSpPr>
            <p:cNvPr id="172" name="Group 171"/>
            <p:cNvGrpSpPr>
              <a:grpSpLocks noChangeAspect="1"/>
            </p:cNvGrpSpPr>
            <p:nvPr/>
          </p:nvGrpSpPr>
          <p:grpSpPr>
            <a:xfrm>
              <a:off x="9419035" y="4774746"/>
              <a:ext cx="364684" cy="548640"/>
              <a:chOff x="536575" y="1630363"/>
              <a:chExt cx="358775" cy="539750"/>
            </a:xfrm>
            <a:solidFill>
              <a:schemeClr val="accent4"/>
            </a:solidFill>
          </p:grpSpPr>
          <p:sp>
            <p:nvSpPr>
              <p:cNvPr id="173" name="Freeform 5"/>
              <p:cNvSpPr>
                <a:spLocks noEditPoints="1"/>
              </p:cNvSpPr>
              <p:nvPr/>
            </p:nvSpPr>
            <p:spPr bwMode="auto">
              <a:xfrm>
                <a:off x="536575" y="1630363"/>
                <a:ext cx="358775" cy="539750"/>
              </a:xfrm>
              <a:custGeom>
                <a:avLst/>
                <a:gdLst>
                  <a:gd name="T0" fmla="*/ 635 w 726"/>
                  <a:gd name="T1" fmla="*/ 0 h 1089"/>
                  <a:gd name="T2" fmla="*/ 91 w 726"/>
                  <a:gd name="T3" fmla="*/ 0 h 1089"/>
                  <a:gd name="T4" fmla="*/ 0 w 726"/>
                  <a:gd name="T5" fmla="*/ 91 h 1089"/>
                  <a:gd name="T6" fmla="*/ 0 w 726"/>
                  <a:gd name="T7" fmla="*/ 999 h 1089"/>
                  <a:gd name="T8" fmla="*/ 91 w 726"/>
                  <a:gd name="T9" fmla="*/ 1089 h 1089"/>
                  <a:gd name="T10" fmla="*/ 635 w 726"/>
                  <a:gd name="T11" fmla="*/ 1089 h 1089"/>
                  <a:gd name="T12" fmla="*/ 726 w 726"/>
                  <a:gd name="T13" fmla="*/ 999 h 1089"/>
                  <a:gd name="T14" fmla="*/ 726 w 726"/>
                  <a:gd name="T15" fmla="*/ 91 h 1089"/>
                  <a:gd name="T16" fmla="*/ 635 w 726"/>
                  <a:gd name="T17" fmla="*/ 0 h 1089"/>
                  <a:gd name="T18" fmla="*/ 291 w 726"/>
                  <a:gd name="T19" fmla="*/ 89 h 1089"/>
                  <a:gd name="T20" fmla="*/ 435 w 726"/>
                  <a:gd name="T21" fmla="*/ 89 h 1089"/>
                  <a:gd name="T22" fmla="*/ 459 w 726"/>
                  <a:gd name="T23" fmla="*/ 113 h 1089"/>
                  <a:gd name="T24" fmla="*/ 435 w 726"/>
                  <a:gd name="T25" fmla="*/ 138 h 1089"/>
                  <a:gd name="T26" fmla="*/ 291 w 726"/>
                  <a:gd name="T27" fmla="*/ 138 h 1089"/>
                  <a:gd name="T28" fmla="*/ 267 w 726"/>
                  <a:gd name="T29" fmla="*/ 113 h 1089"/>
                  <a:gd name="T30" fmla="*/ 291 w 726"/>
                  <a:gd name="T31" fmla="*/ 89 h 1089"/>
                  <a:gd name="T32" fmla="*/ 388 w 726"/>
                  <a:gd name="T33" fmla="*/ 1001 h 1089"/>
                  <a:gd name="T34" fmla="*/ 337 w 726"/>
                  <a:gd name="T35" fmla="*/ 1001 h 1089"/>
                  <a:gd name="T36" fmla="*/ 312 w 726"/>
                  <a:gd name="T37" fmla="*/ 976 h 1089"/>
                  <a:gd name="T38" fmla="*/ 337 w 726"/>
                  <a:gd name="T39" fmla="*/ 950 h 1089"/>
                  <a:gd name="T40" fmla="*/ 388 w 726"/>
                  <a:gd name="T41" fmla="*/ 950 h 1089"/>
                  <a:gd name="T42" fmla="*/ 414 w 726"/>
                  <a:gd name="T43" fmla="*/ 976 h 1089"/>
                  <a:gd name="T44" fmla="*/ 388 w 726"/>
                  <a:gd name="T45" fmla="*/ 1001 h 1089"/>
                  <a:gd name="T46" fmla="*/ 635 w 726"/>
                  <a:gd name="T47" fmla="*/ 885 h 1089"/>
                  <a:gd name="T48" fmla="*/ 613 w 726"/>
                  <a:gd name="T49" fmla="*/ 908 h 1089"/>
                  <a:gd name="T50" fmla="*/ 113 w 726"/>
                  <a:gd name="T51" fmla="*/ 908 h 1089"/>
                  <a:gd name="T52" fmla="*/ 91 w 726"/>
                  <a:gd name="T53" fmla="*/ 885 h 1089"/>
                  <a:gd name="T54" fmla="*/ 91 w 726"/>
                  <a:gd name="T55" fmla="*/ 204 h 1089"/>
                  <a:gd name="T56" fmla="*/ 113 w 726"/>
                  <a:gd name="T57" fmla="*/ 182 h 1089"/>
                  <a:gd name="T58" fmla="*/ 613 w 726"/>
                  <a:gd name="T59" fmla="*/ 182 h 1089"/>
                  <a:gd name="T60" fmla="*/ 635 w 726"/>
                  <a:gd name="T61" fmla="*/ 204 h 1089"/>
                  <a:gd name="T62" fmla="*/ 635 w 726"/>
                  <a:gd name="T63" fmla="*/ 885 h 10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26" h="1089">
                    <a:moveTo>
                      <a:pt x="635" y="0"/>
                    </a:moveTo>
                    <a:cubicBezTo>
                      <a:pt x="91" y="0"/>
                      <a:pt x="91" y="0"/>
                      <a:pt x="91" y="0"/>
                    </a:cubicBezTo>
                    <a:cubicBezTo>
                      <a:pt x="40" y="0"/>
                      <a:pt x="0" y="41"/>
                      <a:pt x="0" y="91"/>
                    </a:cubicBezTo>
                    <a:cubicBezTo>
                      <a:pt x="0" y="999"/>
                      <a:pt x="0" y="999"/>
                      <a:pt x="0" y="999"/>
                    </a:cubicBezTo>
                    <a:cubicBezTo>
                      <a:pt x="0" y="1049"/>
                      <a:pt x="40" y="1089"/>
                      <a:pt x="91" y="1089"/>
                    </a:cubicBezTo>
                    <a:cubicBezTo>
                      <a:pt x="635" y="1089"/>
                      <a:pt x="635" y="1089"/>
                      <a:pt x="635" y="1089"/>
                    </a:cubicBezTo>
                    <a:cubicBezTo>
                      <a:pt x="685" y="1089"/>
                      <a:pt x="726" y="1049"/>
                      <a:pt x="726" y="999"/>
                    </a:cubicBezTo>
                    <a:cubicBezTo>
                      <a:pt x="726" y="91"/>
                      <a:pt x="726" y="91"/>
                      <a:pt x="726" y="91"/>
                    </a:cubicBezTo>
                    <a:cubicBezTo>
                      <a:pt x="726" y="41"/>
                      <a:pt x="685" y="0"/>
                      <a:pt x="635" y="0"/>
                    </a:cubicBezTo>
                    <a:close/>
                    <a:moveTo>
                      <a:pt x="291" y="89"/>
                    </a:moveTo>
                    <a:cubicBezTo>
                      <a:pt x="435" y="89"/>
                      <a:pt x="435" y="89"/>
                      <a:pt x="435" y="89"/>
                    </a:cubicBezTo>
                    <a:cubicBezTo>
                      <a:pt x="449" y="89"/>
                      <a:pt x="459" y="100"/>
                      <a:pt x="459" y="113"/>
                    </a:cubicBezTo>
                    <a:cubicBezTo>
                      <a:pt x="459" y="127"/>
                      <a:pt x="449" y="138"/>
                      <a:pt x="435" y="138"/>
                    </a:cubicBezTo>
                    <a:cubicBezTo>
                      <a:pt x="291" y="138"/>
                      <a:pt x="291" y="138"/>
                      <a:pt x="291" y="138"/>
                    </a:cubicBezTo>
                    <a:cubicBezTo>
                      <a:pt x="277" y="138"/>
                      <a:pt x="267" y="127"/>
                      <a:pt x="267" y="113"/>
                    </a:cubicBezTo>
                    <a:cubicBezTo>
                      <a:pt x="267" y="100"/>
                      <a:pt x="277" y="89"/>
                      <a:pt x="291" y="89"/>
                    </a:cubicBezTo>
                    <a:close/>
                    <a:moveTo>
                      <a:pt x="388" y="1001"/>
                    </a:moveTo>
                    <a:cubicBezTo>
                      <a:pt x="337" y="1001"/>
                      <a:pt x="337" y="1001"/>
                      <a:pt x="337" y="1001"/>
                    </a:cubicBezTo>
                    <a:cubicBezTo>
                      <a:pt x="323" y="1001"/>
                      <a:pt x="312" y="990"/>
                      <a:pt x="312" y="976"/>
                    </a:cubicBezTo>
                    <a:cubicBezTo>
                      <a:pt x="312" y="962"/>
                      <a:pt x="323" y="950"/>
                      <a:pt x="337" y="950"/>
                    </a:cubicBezTo>
                    <a:cubicBezTo>
                      <a:pt x="388" y="950"/>
                      <a:pt x="388" y="950"/>
                      <a:pt x="388" y="950"/>
                    </a:cubicBezTo>
                    <a:cubicBezTo>
                      <a:pt x="403" y="950"/>
                      <a:pt x="414" y="962"/>
                      <a:pt x="414" y="976"/>
                    </a:cubicBezTo>
                    <a:cubicBezTo>
                      <a:pt x="414" y="990"/>
                      <a:pt x="403" y="1001"/>
                      <a:pt x="388" y="1001"/>
                    </a:cubicBezTo>
                    <a:close/>
                    <a:moveTo>
                      <a:pt x="635" y="885"/>
                    </a:moveTo>
                    <a:cubicBezTo>
                      <a:pt x="635" y="898"/>
                      <a:pt x="625" y="908"/>
                      <a:pt x="613" y="908"/>
                    </a:cubicBezTo>
                    <a:cubicBezTo>
                      <a:pt x="113" y="908"/>
                      <a:pt x="113" y="908"/>
                      <a:pt x="113" y="908"/>
                    </a:cubicBezTo>
                    <a:cubicBezTo>
                      <a:pt x="101" y="908"/>
                      <a:pt x="91" y="898"/>
                      <a:pt x="91" y="885"/>
                    </a:cubicBezTo>
                    <a:cubicBezTo>
                      <a:pt x="91" y="204"/>
                      <a:pt x="91" y="204"/>
                      <a:pt x="91" y="204"/>
                    </a:cubicBezTo>
                    <a:cubicBezTo>
                      <a:pt x="91" y="192"/>
                      <a:pt x="101" y="182"/>
                      <a:pt x="113" y="182"/>
                    </a:cubicBezTo>
                    <a:cubicBezTo>
                      <a:pt x="613" y="182"/>
                      <a:pt x="613" y="182"/>
                      <a:pt x="613" y="182"/>
                    </a:cubicBezTo>
                    <a:cubicBezTo>
                      <a:pt x="625" y="182"/>
                      <a:pt x="635" y="192"/>
                      <a:pt x="635" y="204"/>
                    </a:cubicBezTo>
                    <a:lnTo>
                      <a:pt x="635" y="88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6"/>
              <p:cNvSpPr>
                <a:spLocks/>
              </p:cNvSpPr>
              <p:nvPr/>
            </p:nvSpPr>
            <p:spPr bwMode="auto">
              <a:xfrm>
                <a:off x="612775" y="1812926"/>
                <a:ext cx="206375" cy="103188"/>
              </a:xfrm>
              <a:custGeom>
                <a:avLst/>
                <a:gdLst>
                  <a:gd name="T0" fmla="*/ 19 w 417"/>
                  <a:gd name="T1" fmla="*/ 178 h 209"/>
                  <a:gd name="T2" fmla="*/ 82 w 417"/>
                  <a:gd name="T3" fmla="*/ 178 h 209"/>
                  <a:gd name="T4" fmla="*/ 87 w 417"/>
                  <a:gd name="T5" fmla="*/ 176 h 209"/>
                  <a:gd name="T6" fmla="*/ 117 w 417"/>
                  <a:gd name="T7" fmla="*/ 112 h 209"/>
                  <a:gd name="T8" fmla="*/ 120 w 417"/>
                  <a:gd name="T9" fmla="*/ 108 h 209"/>
                  <a:gd name="T10" fmla="*/ 133 w 417"/>
                  <a:gd name="T11" fmla="*/ 103 h 209"/>
                  <a:gd name="T12" fmla="*/ 144 w 417"/>
                  <a:gd name="T13" fmla="*/ 110 h 209"/>
                  <a:gd name="T14" fmla="*/ 147 w 417"/>
                  <a:gd name="T15" fmla="*/ 128 h 209"/>
                  <a:gd name="T16" fmla="*/ 161 w 417"/>
                  <a:gd name="T17" fmla="*/ 205 h 209"/>
                  <a:gd name="T18" fmla="*/ 162 w 417"/>
                  <a:gd name="T19" fmla="*/ 206 h 209"/>
                  <a:gd name="T20" fmla="*/ 163 w 417"/>
                  <a:gd name="T21" fmla="*/ 200 h 209"/>
                  <a:gd name="T22" fmla="*/ 172 w 417"/>
                  <a:gd name="T23" fmla="*/ 162 h 209"/>
                  <a:gd name="T24" fmla="*/ 173 w 417"/>
                  <a:gd name="T25" fmla="*/ 158 h 209"/>
                  <a:gd name="T26" fmla="*/ 185 w 417"/>
                  <a:gd name="T27" fmla="*/ 152 h 209"/>
                  <a:gd name="T28" fmla="*/ 197 w 417"/>
                  <a:gd name="T29" fmla="*/ 158 h 209"/>
                  <a:gd name="T30" fmla="*/ 209 w 417"/>
                  <a:gd name="T31" fmla="*/ 183 h 209"/>
                  <a:gd name="T32" fmla="*/ 211 w 417"/>
                  <a:gd name="T33" fmla="*/ 186 h 209"/>
                  <a:gd name="T34" fmla="*/ 219 w 417"/>
                  <a:gd name="T35" fmla="*/ 164 h 209"/>
                  <a:gd name="T36" fmla="*/ 240 w 417"/>
                  <a:gd name="T37" fmla="*/ 102 h 209"/>
                  <a:gd name="T38" fmla="*/ 253 w 417"/>
                  <a:gd name="T39" fmla="*/ 92 h 209"/>
                  <a:gd name="T40" fmla="*/ 267 w 417"/>
                  <a:gd name="T41" fmla="*/ 101 h 209"/>
                  <a:gd name="T42" fmla="*/ 273 w 417"/>
                  <a:gd name="T43" fmla="*/ 133 h 209"/>
                  <a:gd name="T44" fmla="*/ 289 w 417"/>
                  <a:gd name="T45" fmla="*/ 207 h 209"/>
                  <a:gd name="T46" fmla="*/ 290 w 417"/>
                  <a:gd name="T47" fmla="*/ 209 h 209"/>
                  <a:gd name="T48" fmla="*/ 304 w 417"/>
                  <a:gd name="T49" fmla="*/ 185 h 209"/>
                  <a:gd name="T50" fmla="*/ 324 w 417"/>
                  <a:gd name="T51" fmla="*/ 176 h 209"/>
                  <a:gd name="T52" fmla="*/ 394 w 417"/>
                  <a:gd name="T53" fmla="*/ 176 h 209"/>
                  <a:gd name="T54" fmla="*/ 401 w 417"/>
                  <a:gd name="T55" fmla="*/ 176 h 209"/>
                  <a:gd name="T56" fmla="*/ 408 w 417"/>
                  <a:gd name="T57" fmla="*/ 147 h 209"/>
                  <a:gd name="T58" fmla="*/ 341 w 417"/>
                  <a:gd name="T59" fmla="*/ 22 h 209"/>
                  <a:gd name="T60" fmla="*/ 205 w 417"/>
                  <a:gd name="T61" fmla="*/ 63 h 209"/>
                  <a:gd name="T62" fmla="*/ 202 w 417"/>
                  <a:gd name="T63" fmla="*/ 57 h 209"/>
                  <a:gd name="T64" fmla="*/ 82 w 417"/>
                  <a:gd name="T65" fmla="*/ 17 h 209"/>
                  <a:gd name="T66" fmla="*/ 2 w 417"/>
                  <a:gd name="T67" fmla="*/ 116 h 209"/>
                  <a:gd name="T68" fmla="*/ 10 w 417"/>
                  <a:gd name="T69" fmla="*/ 180 h 209"/>
                  <a:gd name="T70" fmla="*/ 19 w 417"/>
                  <a:gd name="T71" fmla="*/ 17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7" h="209">
                    <a:moveTo>
                      <a:pt x="19" y="178"/>
                    </a:moveTo>
                    <a:cubicBezTo>
                      <a:pt x="40" y="178"/>
                      <a:pt x="61" y="178"/>
                      <a:pt x="82" y="178"/>
                    </a:cubicBezTo>
                    <a:cubicBezTo>
                      <a:pt x="85" y="178"/>
                      <a:pt x="86" y="178"/>
                      <a:pt x="87" y="176"/>
                    </a:cubicBezTo>
                    <a:cubicBezTo>
                      <a:pt x="97" y="155"/>
                      <a:pt x="107" y="133"/>
                      <a:pt x="117" y="112"/>
                    </a:cubicBezTo>
                    <a:cubicBezTo>
                      <a:pt x="118" y="111"/>
                      <a:pt x="119" y="109"/>
                      <a:pt x="120" y="108"/>
                    </a:cubicBezTo>
                    <a:cubicBezTo>
                      <a:pt x="122" y="104"/>
                      <a:pt x="127" y="102"/>
                      <a:pt x="133" y="103"/>
                    </a:cubicBezTo>
                    <a:cubicBezTo>
                      <a:pt x="138" y="103"/>
                      <a:pt x="143" y="106"/>
                      <a:pt x="144" y="110"/>
                    </a:cubicBezTo>
                    <a:cubicBezTo>
                      <a:pt x="145" y="116"/>
                      <a:pt x="146" y="122"/>
                      <a:pt x="147" y="128"/>
                    </a:cubicBezTo>
                    <a:cubicBezTo>
                      <a:pt x="152" y="153"/>
                      <a:pt x="156" y="179"/>
                      <a:pt x="161" y="205"/>
                    </a:cubicBezTo>
                    <a:cubicBezTo>
                      <a:pt x="161" y="205"/>
                      <a:pt x="161" y="205"/>
                      <a:pt x="162" y="206"/>
                    </a:cubicBezTo>
                    <a:cubicBezTo>
                      <a:pt x="162" y="204"/>
                      <a:pt x="163" y="202"/>
                      <a:pt x="163" y="200"/>
                    </a:cubicBezTo>
                    <a:cubicBezTo>
                      <a:pt x="166" y="187"/>
                      <a:pt x="169" y="174"/>
                      <a:pt x="172" y="162"/>
                    </a:cubicBezTo>
                    <a:cubicBezTo>
                      <a:pt x="172" y="160"/>
                      <a:pt x="172" y="159"/>
                      <a:pt x="173" y="158"/>
                    </a:cubicBezTo>
                    <a:cubicBezTo>
                      <a:pt x="175" y="154"/>
                      <a:pt x="180" y="152"/>
                      <a:pt x="185" y="152"/>
                    </a:cubicBezTo>
                    <a:cubicBezTo>
                      <a:pt x="191" y="152"/>
                      <a:pt x="195" y="154"/>
                      <a:pt x="197" y="158"/>
                    </a:cubicBezTo>
                    <a:cubicBezTo>
                      <a:pt x="201" y="166"/>
                      <a:pt x="205" y="175"/>
                      <a:pt x="209" y="183"/>
                    </a:cubicBezTo>
                    <a:cubicBezTo>
                      <a:pt x="210" y="184"/>
                      <a:pt x="210" y="185"/>
                      <a:pt x="211" y="186"/>
                    </a:cubicBezTo>
                    <a:cubicBezTo>
                      <a:pt x="214" y="178"/>
                      <a:pt x="216" y="171"/>
                      <a:pt x="219" y="164"/>
                    </a:cubicBezTo>
                    <a:cubicBezTo>
                      <a:pt x="226" y="143"/>
                      <a:pt x="233" y="122"/>
                      <a:pt x="240" y="102"/>
                    </a:cubicBezTo>
                    <a:cubicBezTo>
                      <a:pt x="242" y="96"/>
                      <a:pt x="247" y="92"/>
                      <a:pt x="253" y="92"/>
                    </a:cubicBezTo>
                    <a:cubicBezTo>
                      <a:pt x="260" y="92"/>
                      <a:pt x="265" y="95"/>
                      <a:pt x="267" y="101"/>
                    </a:cubicBezTo>
                    <a:cubicBezTo>
                      <a:pt x="269" y="111"/>
                      <a:pt x="271" y="122"/>
                      <a:pt x="273" y="133"/>
                    </a:cubicBezTo>
                    <a:cubicBezTo>
                      <a:pt x="279" y="157"/>
                      <a:pt x="284" y="182"/>
                      <a:pt x="289" y="207"/>
                    </a:cubicBezTo>
                    <a:cubicBezTo>
                      <a:pt x="289" y="208"/>
                      <a:pt x="290" y="208"/>
                      <a:pt x="290" y="209"/>
                    </a:cubicBezTo>
                    <a:cubicBezTo>
                      <a:pt x="295" y="201"/>
                      <a:pt x="300" y="193"/>
                      <a:pt x="304" y="185"/>
                    </a:cubicBezTo>
                    <a:cubicBezTo>
                      <a:pt x="308" y="178"/>
                      <a:pt x="314" y="175"/>
                      <a:pt x="324" y="176"/>
                    </a:cubicBezTo>
                    <a:cubicBezTo>
                      <a:pt x="347" y="176"/>
                      <a:pt x="371" y="176"/>
                      <a:pt x="394" y="176"/>
                    </a:cubicBezTo>
                    <a:cubicBezTo>
                      <a:pt x="397" y="176"/>
                      <a:pt x="399" y="176"/>
                      <a:pt x="401" y="176"/>
                    </a:cubicBezTo>
                    <a:cubicBezTo>
                      <a:pt x="404" y="167"/>
                      <a:pt x="407" y="157"/>
                      <a:pt x="408" y="147"/>
                    </a:cubicBezTo>
                    <a:cubicBezTo>
                      <a:pt x="417" y="95"/>
                      <a:pt x="389" y="43"/>
                      <a:pt x="341" y="22"/>
                    </a:cubicBezTo>
                    <a:cubicBezTo>
                      <a:pt x="290" y="0"/>
                      <a:pt x="239" y="15"/>
                      <a:pt x="205" y="63"/>
                    </a:cubicBezTo>
                    <a:cubicBezTo>
                      <a:pt x="203" y="60"/>
                      <a:pt x="202" y="59"/>
                      <a:pt x="202" y="57"/>
                    </a:cubicBezTo>
                    <a:cubicBezTo>
                      <a:pt x="182" y="21"/>
                      <a:pt x="127" y="3"/>
                      <a:pt x="82" y="17"/>
                    </a:cubicBezTo>
                    <a:cubicBezTo>
                      <a:pt x="37" y="31"/>
                      <a:pt x="6" y="70"/>
                      <a:pt x="2" y="116"/>
                    </a:cubicBezTo>
                    <a:cubicBezTo>
                      <a:pt x="0" y="139"/>
                      <a:pt x="3" y="160"/>
                      <a:pt x="10" y="180"/>
                    </a:cubicBezTo>
                    <a:cubicBezTo>
                      <a:pt x="13" y="179"/>
                      <a:pt x="16" y="178"/>
                      <a:pt x="19" y="17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7"/>
              <p:cNvSpPr>
                <a:spLocks/>
              </p:cNvSpPr>
              <p:nvPr/>
            </p:nvSpPr>
            <p:spPr bwMode="auto">
              <a:xfrm>
                <a:off x="622300" y="1887538"/>
                <a:ext cx="185738" cy="109538"/>
              </a:xfrm>
              <a:custGeom>
                <a:avLst/>
                <a:gdLst>
                  <a:gd name="T0" fmla="*/ 375 w 376"/>
                  <a:gd name="T1" fmla="*/ 45 h 223"/>
                  <a:gd name="T2" fmla="*/ 313 w 376"/>
                  <a:gd name="T3" fmla="*/ 45 h 223"/>
                  <a:gd name="T4" fmla="*/ 307 w 376"/>
                  <a:gd name="T5" fmla="*/ 47 h 223"/>
                  <a:gd name="T6" fmla="*/ 279 w 376"/>
                  <a:gd name="T7" fmla="*/ 94 h 223"/>
                  <a:gd name="T8" fmla="*/ 264 w 376"/>
                  <a:gd name="T9" fmla="*/ 103 h 223"/>
                  <a:gd name="T10" fmla="*/ 252 w 376"/>
                  <a:gd name="T11" fmla="*/ 91 h 223"/>
                  <a:gd name="T12" fmla="*/ 233 w 376"/>
                  <a:gd name="T13" fmla="*/ 3 h 223"/>
                  <a:gd name="T14" fmla="*/ 232 w 376"/>
                  <a:gd name="T15" fmla="*/ 0 h 223"/>
                  <a:gd name="T16" fmla="*/ 231 w 376"/>
                  <a:gd name="T17" fmla="*/ 4 h 223"/>
                  <a:gd name="T18" fmla="*/ 208 w 376"/>
                  <a:gd name="T19" fmla="*/ 70 h 223"/>
                  <a:gd name="T20" fmla="*/ 191 w 376"/>
                  <a:gd name="T21" fmla="*/ 79 h 223"/>
                  <a:gd name="T22" fmla="*/ 182 w 376"/>
                  <a:gd name="T23" fmla="*/ 72 h 223"/>
                  <a:gd name="T24" fmla="*/ 173 w 376"/>
                  <a:gd name="T25" fmla="*/ 53 h 223"/>
                  <a:gd name="T26" fmla="*/ 171 w 376"/>
                  <a:gd name="T27" fmla="*/ 51 h 223"/>
                  <a:gd name="T28" fmla="*/ 169 w 376"/>
                  <a:gd name="T29" fmla="*/ 64 h 223"/>
                  <a:gd name="T30" fmla="*/ 155 w 376"/>
                  <a:gd name="T31" fmla="*/ 124 h 223"/>
                  <a:gd name="T32" fmla="*/ 139 w 376"/>
                  <a:gd name="T33" fmla="*/ 133 h 223"/>
                  <a:gd name="T34" fmla="*/ 129 w 376"/>
                  <a:gd name="T35" fmla="*/ 124 h 223"/>
                  <a:gd name="T36" fmla="*/ 121 w 376"/>
                  <a:gd name="T37" fmla="*/ 77 h 223"/>
                  <a:gd name="T38" fmla="*/ 108 w 376"/>
                  <a:gd name="T39" fmla="*/ 6 h 223"/>
                  <a:gd name="T40" fmla="*/ 107 w 376"/>
                  <a:gd name="T41" fmla="*/ 4 h 223"/>
                  <a:gd name="T42" fmla="*/ 96 w 376"/>
                  <a:gd name="T43" fmla="*/ 27 h 223"/>
                  <a:gd name="T44" fmla="*/ 90 w 376"/>
                  <a:gd name="T45" fmla="*/ 40 h 223"/>
                  <a:gd name="T46" fmla="*/ 75 w 376"/>
                  <a:gd name="T47" fmla="*/ 48 h 223"/>
                  <a:gd name="T48" fmla="*/ 0 w 376"/>
                  <a:gd name="T49" fmla="*/ 48 h 223"/>
                  <a:gd name="T50" fmla="*/ 24 w 376"/>
                  <a:gd name="T51" fmla="*/ 87 h 223"/>
                  <a:gd name="T52" fmla="*/ 179 w 376"/>
                  <a:gd name="T53" fmla="*/ 220 h 223"/>
                  <a:gd name="T54" fmla="*/ 197 w 376"/>
                  <a:gd name="T55" fmla="*/ 219 h 223"/>
                  <a:gd name="T56" fmla="*/ 294 w 376"/>
                  <a:gd name="T57" fmla="*/ 148 h 223"/>
                  <a:gd name="T58" fmla="*/ 376 w 376"/>
                  <a:gd name="T59" fmla="*/ 45 h 223"/>
                  <a:gd name="T60" fmla="*/ 375 w 376"/>
                  <a:gd name="T61" fmla="*/ 45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76" h="223">
                    <a:moveTo>
                      <a:pt x="375" y="45"/>
                    </a:moveTo>
                    <a:cubicBezTo>
                      <a:pt x="354" y="45"/>
                      <a:pt x="333" y="45"/>
                      <a:pt x="313" y="45"/>
                    </a:cubicBezTo>
                    <a:cubicBezTo>
                      <a:pt x="310" y="45"/>
                      <a:pt x="309" y="45"/>
                      <a:pt x="307" y="47"/>
                    </a:cubicBezTo>
                    <a:cubicBezTo>
                      <a:pt x="298" y="63"/>
                      <a:pt x="289" y="79"/>
                      <a:pt x="279" y="94"/>
                    </a:cubicBezTo>
                    <a:cubicBezTo>
                      <a:pt x="276" y="101"/>
                      <a:pt x="271" y="103"/>
                      <a:pt x="264" y="103"/>
                    </a:cubicBezTo>
                    <a:cubicBezTo>
                      <a:pt x="257" y="102"/>
                      <a:pt x="254" y="98"/>
                      <a:pt x="252" y="91"/>
                    </a:cubicBezTo>
                    <a:cubicBezTo>
                      <a:pt x="246" y="62"/>
                      <a:pt x="240" y="32"/>
                      <a:pt x="233" y="3"/>
                    </a:cubicBezTo>
                    <a:cubicBezTo>
                      <a:pt x="233" y="2"/>
                      <a:pt x="233" y="1"/>
                      <a:pt x="232" y="0"/>
                    </a:cubicBezTo>
                    <a:cubicBezTo>
                      <a:pt x="232" y="2"/>
                      <a:pt x="231" y="3"/>
                      <a:pt x="231" y="4"/>
                    </a:cubicBezTo>
                    <a:cubicBezTo>
                      <a:pt x="223" y="26"/>
                      <a:pt x="216" y="48"/>
                      <a:pt x="208" y="70"/>
                    </a:cubicBezTo>
                    <a:cubicBezTo>
                      <a:pt x="206" y="77"/>
                      <a:pt x="199" y="80"/>
                      <a:pt x="191" y="79"/>
                    </a:cubicBezTo>
                    <a:cubicBezTo>
                      <a:pt x="186" y="77"/>
                      <a:pt x="184" y="75"/>
                      <a:pt x="182" y="72"/>
                    </a:cubicBezTo>
                    <a:cubicBezTo>
                      <a:pt x="179" y="65"/>
                      <a:pt x="176" y="59"/>
                      <a:pt x="173" y="53"/>
                    </a:cubicBezTo>
                    <a:cubicBezTo>
                      <a:pt x="173" y="52"/>
                      <a:pt x="172" y="51"/>
                      <a:pt x="171" y="51"/>
                    </a:cubicBezTo>
                    <a:cubicBezTo>
                      <a:pt x="170" y="55"/>
                      <a:pt x="169" y="59"/>
                      <a:pt x="169" y="64"/>
                    </a:cubicBezTo>
                    <a:cubicBezTo>
                      <a:pt x="164" y="84"/>
                      <a:pt x="160" y="104"/>
                      <a:pt x="155" y="124"/>
                    </a:cubicBezTo>
                    <a:cubicBezTo>
                      <a:pt x="154" y="131"/>
                      <a:pt x="147" y="135"/>
                      <a:pt x="139" y="133"/>
                    </a:cubicBezTo>
                    <a:cubicBezTo>
                      <a:pt x="133" y="132"/>
                      <a:pt x="130" y="128"/>
                      <a:pt x="129" y="124"/>
                    </a:cubicBezTo>
                    <a:cubicBezTo>
                      <a:pt x="126" y="108"/>
                      <a:pt x="123" y="93"/>
                      <a:pt x="121" y="77"/>
                    </a:cubicBezTo>
                    <a:cubicBezTo>
                      <a:pt x="116" y="54"/>
                      <a:pt x="112" y="30"/>
                      <a:pt x="108" y="6"/>
                    </a:cubicBezTo>
                    <a:cubicBezTo>
                      <a:pt x="108" y="5"/>
                      <a:pt x="108" y="5"/>
                      <a:pt x="107" y="4"/>
                    </a:cubicBezTo>
                    <a:cubicBezTo>
                      <a:pt x="103" y="12"/>
                      <a:pt x="100" y="20"/>
                      <a:pt x="96" y="27"/>
                    </a:cubicBezTo>
                    <a:cubicBezTo>
                      <a:pt x="94" y="32"/>
                      <a:pt x="92" y="36"/>
                      <a:pt x="90" y="40"/>
                    </a:cubicBezTo>
                    <a:cubicBezTo>
                      <a:pt x="87" y="45"/>
                      <a:pt x="83" y="48"/>
                      <a:pt x="75" y="48"/>
                    </a:cubicBezTo>
                    <a:cubicBezTo>
                      <a:pt x="50" y="48"/>
                      <a:pt x="25" y="48"/>
                      <a:pt x="0" y="48"/>
                    </a:cubicBezTo>
                    <a:cubicBezTo>
                      <a:pt x="7" y="61"/>
                      <a:pt x="15" y="75"/>
                      <a:pt x="24" y="87"/>
                    </a:cubicBezTo>
                    <a:cubicBezTo>
                      <a:pt x="65" y="144"/>
                      <a:pt x="120" y="184"/>
                      <a:pt x="179" y="220"/>
                    </a:cubicBezTo>
                    <a:cubicBezTo>
                      <a:pt x="183" y="223"/>
                      <a:pt x="193" y="222"/>
                      <a:pt x="197" y="219"/>
                    </a:cubicBezTo>
                    <a:cubicBezTo>
                      <a:pt x="230" y="196"/>
                      <a:pt x="264" y="174"/>
                      <a:pt x="294" y="148"/>
                    </a:cubicBezTo>
                    <a:cubicBezTo>
                      <a:pt x="328" y="118"/>
                      <a:pt x="358" y="85"/>
                      <a:pt x="376" y="45"/>
                    </a:cubicBezTo>
                    <a:cubicBezTo>
                      <a:pt x="375" y="45"/>
                      <a:pt x="375" y="45"/>
                      <a:pt x="375" y="4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76" name="Rectangle 175"/>
            <p:cNvSpPr/>
            <p:nvPr/>
          </p:nvSpPr>
          <p:spPr>
            <a:xfrm>
              <a:off x="9285022" y="5347480"/>
              <a:ext cx="612686" cy="4985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 algn="ctr" defTabSz="12446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200" b="1" dirty="0"/>
                <a:t>Disease specific apps</a:t>
              </a:r>
            </a:p>
          </p:txBody>
        </p:sp>
      </p:grpSp>
      <p:grpSp>
        <p:nvGrpSpPr>
          <p:cNvPr id="185" name="Group 184"/>
          <p:cNvGrpSpPr/>
          <p:nvPr/>
        </p:nvGrpSpPr>
        <p:grpSpPr>
          <a:xfrm>
            <a:off x="9195946" y="1855348"/>
            <a:ext cx="1220897" cy="1220897"/>
            <a:chOff x="8874486" y="1547919"/>
            <a:chExt cx="1220897" cy="1220897"/>
          </a:xfrm>
        </p:grpSpPr>
        <p:sp>
          <p:nvSpPr>
            <p:cNvPr id="145" name="Freeform 144"/>
            <p:cNvSpPr/>
            <p:nvPr/>
          </p:nvSpPr>
          <p:spPr>
            <a:xfrm>
              <a:off x="8874486" y="1547919"/>
              <a:ext cx="1220897" cy="1220897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1816" tIns="211816" rIns="211816" bIns="211816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600" kern="1200" dirty="0"/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9102393" y="2396647"/>
              <a:ext cx="765082" cy="1661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lvl="0" algn="ctr" defTabSz="12446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200" b="1" dirty="0"/>
                <a:t>Wearables</a:t>
              </a:r>
            </a:p>
          </p:txBody>
        </p:sp>
        <p:grpSp>
          <p:nvGrpSpPr>
            <p:cNvPr id="181" name="Group 180"/>
            <p:cNvGrpSpPr/>
            <p:nvPr/>
          </p:nvGrpSpPr>
          <p:grpSpPr>
            <a:xfrm>
              <a:off x="9285022" y="1758519"/>
              <a:ext cx="387805" cy="523787"/>
              <a:chOff x="-2673350" y="1233488"/>
              <a:chExt cx="2406650" cy="3719513"/>
            </a:xfrm>
            <a:solidFill>
              <a:srgbClr val="C00000"/>
            </a:solidFill>
          </p:grpSpPr>
          <p:sp>
            <p:nvSpPr>
              <p:cNvPr id="182" name="Freeform 82"/>
              <p:cNvSpPr>
                <a:spLocks/>
              </p:cNvSpPr>
              <p:nvPr/>
            </p:nvSpPr>
            <p:spPr bwMode="auto">
              <a:xfrm>
                <a:off x="-2200275" y="2598738"/>
                <a:ext cx="1309688" cy="1154113"/>
              </a:xfrm>
              <a:custGeom>
                <a:avLst/>
                <a:gdLst>
                  <a:gd name="T0" fmla="*/ 656 w 825"/>
                  <a:gd name="T1" fmla="*/ 130 h 727"/>
                  <a:gd name="T2" fmla="*/ 519 w 825"/>
                  <a:gd name="T3" fmla="*/ 61 h 727"/>
                  <a:gd name="T4" fmla="*/ 251 w 825"/>
                  <a:gd name="T5" fmla="*/ 42 h 727"/>
                  <a:gd name="T6" fmla="*/ 159 w 825"/>
                  <a:gd name="T7" fmla="*/ 220 h 727"/>
                  <a:gd name="T8" fmla="*/ 258 w 825"/>
                  <a:gd name="T9" fmla="*/ 272 h 727"/>
                  <a:gd name="T10" fmla="*/ 318 w 825"/>
                  <a:gd name="T11" fmla="*/ 161 h 727"/>
                  <a:gd name="T12" fmla="*/ 415 w 825"/>
                  <a:gd name="T13" fmla="*/ 168 h 727"/>
                  <a:gd name="T14" fmla="*/ 235 w 825"/>
                  <a:gd name="T15" fmla="*/ 514 h 727"/>
                  <a:gd name="T16" fmla="*/ 0 w 825"/>
                  <a:gd name="T17" fmla="*/ 623 h 727"/>
                  <a:gd name="T18" fmla="*/ 50 w 825"/>
                  <a:gd name="T19" fmla="*/ 727 h 727"/>
                  <a:gd name="T20" fmla="*/ 320 w 825"/>
                  <a:gd name="T21" fmla="*/ 599 h 727"/>
                  <a:gd name="T22" fmla="*/ 415 w 825"/>
                  <a:gd name="T23" fmla="*/ 417 h 727"/>
                  <a:gd name="T24" fmla="*/ 488 w 825"/>
                  <a:gd name="T25" fmla="*/ 454 h 727"/>
                  <a:gd name="T26" fmla="*/ 405 w 825"/>
                  <a:gd name="T27" fmla="*/ 618 h 727"/>
                  <a:gd name="T28" fmla="*/ 505 w 825"/>
                  <a:gd name="T29" fmla="*/ 668 h 727"/>
                  <a:gd name="T30" fmla="*/ 640 w 825"/>
                  <a:gd name="T31" fmla="*/ 402 h 727"/>
                  <a:gd name="T32" fmla="*/ 467 w 825"/>
                  <a:gd name="T33" fmla="*/ 315 h 727"/>
                  <a:gd name="T34" fmla="*/ 528 w 825"/>
                  <a:gd name="T35" fmla="*/ 194 h 727"/>
                  <a:gd name="T36" fmla="*/ 704 w 825"/>
                  <a:gd name="T37" fmla="*/ 281 h 727"/>
                  <a:gd name="T38" fmla="*/ 825 w 825"/>
                  <a:gd name="T39" fmla="*/ 52 h 727"/>
                  <a:gd name="T40" fmla="*/ 723 w 825"/>
                  <a:gd name="T41" fmla="*/ 0 h 727"/>
                  <a:gd name="T42" fmla="*/ 656 w 825"/>
                  <a:gd name="T43" fmla="*/ 13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25" h="727">
                    <a:moveTo>
                      <a:pt x="656" y="130"/>
                    </a:moveTo>
                    <a:lnTo>
                      <a:pt x="519" y="61"/>
                    </a:lnTo>
                    <a:lnTo>
                      <a:pt x="251" y="42"/>
                    </a:lnTo>
                    <a:lnTo>
                      <a:pt x="159" y="220"/>
                    </a:lnTo>
                    <a:lnTo>
                      <a:pt x="258" y="272"/>
                    </a:lnTo>
                    <a:lnTo>
                      <a:pt x="318" y="161"/>
                    </a:lnTo>
                    <a:lnTo>
                      <a:pt x="415" y="168"/>
                    </a:lnTo>
                    <a:lnTo>
                      <a:pt x="235" y="514"/>
                    </a:lnTo>
                    <a:lnTo>
                      <a:pt x="0" y="623"/>
                    </a:lnTo>
                    <a:lnTo>
                      <a:pt x="50" y="727"/>
                    </a:lnTo>
                    <a:lnTo>
                      <a:pt x="320" y="599"/>
                    </a:lnTo>
                    <a:lnTo>
                      <a:pt x="415" y="417"/>
                    </a:lnTo>
                    <a:lnTo>
                      <a:pt x="488" y="454"/>
                    </a:lnTo>
                    <a:lnTo>
                      <a:pt x="405" y="618"/>
                    </a:lnTo>
                    <a:lnTo>
                      <a:pt x="505" y="668"/>
                    </a:lnTo>
                    <a:lnTo>
                      <a:pt x="640" y="402"/>
                    </a:lnTo>
                    <a:lnTo>
                      <a:pt x="467" y="315"/>
                    </a:lnTo>
                    <a:lnTo>
                      <a:pt x="528" y="194"/>
                    </a:lnTo>
                    <a:lnTo>
                      <a:pt x="704" y="281"/>
                    </a:lnTo>
                    <a:lnTo>
                      <a:pt x="825" y="52"/>
                    </a:lnTo>
                    <a:lnTo>
                      <a:pt x="723" y="0"/>
                    </a:lnTo>
                    <a:lnTo>
                      <a:pt x="656" y="1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Oval 83"/>
              <p:cNvSpPr>
                <a:spLocks noChangeArrowheads="1"/>
              </p:cNvSpPr>
              <p:nvPr/>
            </p:nvSpPr>
            <p:spPr bwMode="auto">
              <a:xfrm>
                <a:off x="-1403350" y="2425701"/>
                <a:ext cx="241300" cy="239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84"/>
              <p:cNvSpPr>
                <a:spLocks noEditPoints="1"/>
              </p:cNvSpPr>
              <p:nvPr/>
            </p:nvSpPr>
            <p:spPr bwMode="auto">
              <a:xfrm>
                <a:off x="-2673350" y="1233488"/>
                <a:ext cx="2406650" cy="3719513"/>
              </a:xfrm>
              <a:custGeom>
                <a:avLst/>
                <a:gdLst>
                  <a:gd name="T0" fmla="*/ 640 w 640"/>
                  <a:gd name="T1" fmla="*/ 423 h 989"/>
                  <a:gd name="T2" fmla="*/ 640 w 640"/>
                  <a:gd name="T3" fmla="*/ 319 h 989"/>
                  <a:gd name="T4" fmla="*/ 592 w 640"/>
                  <a:gd name="T5" fmla="*/ 319 h 989"/>
                  <a:gd name="T6" fmla="*/ 592 w 640"/>
                  <a:gd name="T7" fmla="*/ 238 h 989"/>
                  <a:gd name="T8" fmla="*/ 515 w 640"/>
                  <a:gd name="T9" fmla="*/ 160 h 989"/>
                  <a:gd name="T10" fmla="*/ 487 w 640"/>
                  <a:gd name="T11" fmla="*/ 160 h 989"/>
                  <a:gd name="T12" fmla="*/ 469 w 640"/>
                  <a:gd name="T13" fmla="*/ 48 h 989"/>
                  <a:gd name="T14" fmla="*/ 412 w 640"/>
                  <a:gd name="T15" fmla="*/ 0 h 989"/>
                  <a:gd name="T16" fmla="*/ 182 w 640"/>
                  <a:gd name="T17" fmla="*/ 0 h 989"/>
                  <a:gd name="T18" fmla="*/ 125 w 640"/>
                  <a:gd name="T19" fmla="*/ 48 h 989"/>
                  <a:gd name="T20" fmla="*/ 107 w 640"/>
                  <a:gd name="T21" fmla="*/ 160 h 989"/>
                  <a:gd name="T22" fmla="*/ 77 w 640"/>
                  <a:gd name="T23" fmla="*/ 160 h 989"/>
                  <a:gd name="T24" fmla="*/ 0 w 640"/>
                  <a:gd name="T25" fmla="*/ 238 h 989"/>
                  <a:gd name="T26" fmla="*/ 0 w 640"/>
                  <a:gd name="T27" fmla="*/ 754 h 989"/>
                  <a:gd name="T28" fmla="*/ 77 w 640"/>
                  <a:gd name="T29" fmla="*/ 832 h 989"/>
                  <a:gd name="T30" fmla="*/ 108 w 640"/>
                  <a:gd name="T31" fmla="*/ 832 h 989"/>
                  <a:gd name="T32" fmla="*/ 125 w 640"/>
                  <a:gd name="T33" fmla="*/ 941 h 989"/>
                  <a:gd name="T34" fmla="*/ 182 w 640"/>
                  <a:gd name="T35" fmla="*/ 989 h 989"/>
                  <a:gd name="T36" fmla="*/ 412 w 640"/>
                  <a:gd name="T37" fmla="*/ 989 h 989"/>
                  <a:gd name="T38" fmla="*/ 469 w 640"/>
                  <a:gd name="T39" fmla="*/ 941 h 989"/>
                  <a:gd name="T40" fmla="*/ 486 w 640"/>
                  <a:gd name="T41" fmla="*/ 832 h 989"/>
                  <a:gd name="T42" fmla="*/ 515 w 640"/>
                  <a:gd name="T43" fmla="*/ 832 h 989"/>
                  <a:gd name="T44" fmla="*/ 592 w 640"/>
                  <a:gd name="T45" fmla="*/ 754 h 989"/>
                  <a:gd name="T46" fmla="*/ 592 w 640"/>
                  <a:gd name="T47" fmla="*/ 666 h 989"/>
                  <a:gd name="T48" fmla="*/ 640 w 640"/>
                  <a:gd name="T49" fmla="*/ 666 h 989"/>
                  <a:gd name="T50" fmla="*/ 640 w 640"/>
                  <a:gd name="T51" fmla="*/ 514 h 989"/>
                  <a:gd name="T52" fmla="*/ 592 w 640"/>
                  <a:gd name="T53" fmla="*/ 514 h 989"/>
                  <a:gd name="T54" fmla="*/ 592 w 640"/>
                  <a:gd name="T55" fmla="*/ 423 h 989"/>
                  <a:gd name="T56" fmla="*/ 640 w 640"/>
                  <a:gd name="T57" fmla="*/ 423 h 989"/>
                  <a:gd name="T58" fmla="*/ 173 w 640"/>
                  <a:gd name="T59" fmla="*/ 56 h 989"/>
                  <a:gd name="T60" fmla="*/ 182 w 640"/>
                  <a:gd name="T61" fmla="*/ 48 h 989"/>
                  <a:gd name="T62" fmla="*/ 412 w 640"/>
                  <a:gd name="T63" fmla="*/ 48 h 989"/>
                  <a:gd name="T64" fmla="*/ 421 w 640"/>
                  <a:gd name="T65" fmla="*/ 56 h 989"/>
                  <a:gd name="T66" fmla="*/ 438 w 640"/>
                  <a:gd name="T67" fmla="*/ 160 h 989"/>
                  <a:gd name="T68" fmla="*/ 156 w 640"/>
                  <a:gd name="T69" fmla="*/ 160 h 989"/>
                  <a:gd name="T70" fmla="*/ 173 w 640"/>
                  <a:gd name="T71" fmla="*/ 56 h 989"/>
                  <a:gd name="T72" fmla="*/ 421 w 640"/>
                  <a:gd name="T73" fmla="*/ 934 h 989"/>
                  <a:gd name="T74" fmla="*/ 412 w 640"/>
                  <a:gd name="T75" fmla="*/ 941 h 989"/>
                  <a:gd name="T76" fmla="*/ 182 w 640"/>
                  <a:gd name="T77" fmla="*/ 941 h 989"/>
                  <a:gd name="T78" fmla="*/ 173 w 640"/>
                  <a:gd name="T79" fmla="*/ 934 h 989"/>
                  <a:gd name="T80" fmla="*/ 156 w 640"/>
                  <a:gd name="T81" fmla="*/ 832 h 989"/>
                  <a:gd name="T82" fmla="*/ 438 w 640"/>
                  <a:gd name="T83" fmla="*/ 832 h 989"/>
                  <a:gd name="T84" fmla="*/ 421 w 640"/>
                  <a:gd name="T85" fmla="*/ 934 h 989"/>
                  <a:gd name="T86" fmla="*/ 544 w 640"/>
                  <a:gd name="T87" fmla="*/ 754 h 989"/>
                  <a:gd name="T88" fmla="*/ 515 w 640"/>
                  <a:gd name="T89" fmla="*/ 784 h 989"/>
                  <a:gd name="T90" fmla="*/ 77 w 640"/>
                  <a:gd name="T91" fmla="*/ 784 h 989"/>
                  <a:gd name="T92" fmla="*/ 48 w 640"/>
                  <a:gd name="T93" fmla="*/ 754 h 989"/>
                  <a:gd name="T94" fmla="*/ 48 w 640"/>
                  <a:gd name="T95" fmla="*/ 238 h 989"/>
                  <a:gd name="T96" fmla="*/ 77 w 640"/>
                  <a:gd name="T97" fmla="*/ 208 h 989"/>
                  <a:gd name="T98" fmla="*/ 515 w 640"/>
                  <a:gd name="T99" fmla="*/ 208 h 989"/>
                  <a:gd name="T100" fmla="*/ 544 w 640"/>
                  <a:gd name="T101" fmla="*/ 238 h 989"/>
                  <a:gd name="T102" fmla="*/ 544 w 640"/>
                  <a:gd name="T103" fmla="*/ 754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40" h="989">
                    <a:moveTo>
                      <a:pt x="640" y="423"/>
                    </a:moveTo>
                    <a:cubicBezTo>
                      <a:pt x="640" y="319"/>
                      <a:pt x="640" y="319"/>
                      <a:pt x="640" y="319"/>
                    </a:cubicBezTo>
                    <a:cubicBezTo>
                      <a:pt x="592" y="319"/>
                      <a:pt x="592" y="319"/>
                      <a:pt x="592" y="319"/>
                    </a:cubicBezTo>
                    <a:cubicBezTo>
                      <a:pt x="592" y="238"/>
                      <a:pt x="592" y="238"/>
                      <a:pt x="592" y="238"/>
                    </a:cubicBezTo>
                    <a:cubicBezTo>
                      <a:pt x="592" y="195"/>
                      <a:pt x="558" y="160"/>
                      <a:pt x="515" y="160"/>
                    </a:cubicBezTo>
                    <a:cubicBezTo>
                      <a:pt x="487" y="160"/>
                      <a:pt x="487" y="160"/>
                      <a:pt x="487" y="160"/>
                    </a:cubicBezTo>
                    <a:cubicBezTo>
                      <a:pt x="469" y="48"/>
                      <a:pt x="469" y="48"/>
                      <a:pt x="469" y="48"/>
                    </a:cubicBezTo>
                    <a:cubicBezTo>
                      <a:pt x="464" y="20"/>
                      <a:pt x="441" y="0"/>
                      <a:pt x="412" y="0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53" y="0"/>
                      <a:pt x="130" y="20"/>
                      <a:pt x="125" y="48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35" y="160"/>
                      <a:pt x="0" y="195"/>
                      <a:pt x="0" y="238"/>
                    </a:cubicBezTo>
                    <a:cubicBezTo>
                      <a:pt x="0" y="754"/>
                      <a:pt x="0" y="754"/>
                      <a:pt x="0" y="754"/>
                    </a:cubicBezTo>
                    <a:cubicBezTo>
                      <a:pt x="0" y="797"/>
                      <a:pt x="35" y="832"/>
                      <a:pt x="77" y="832"/>
                    </a:cubicBezTo>
                    <a:cubicBezTo>
                      <a:pt x="108" y="832"/>
                      <a:pt x="108" y="832"/>
                      <a:pt x="108" y="832"/>
                    </a:cubicBezTo>
                    <a:cubicBezTo>
                      <a:pt x="125" y="941"/>
                      <a:pt x="125" y="941"/>
                      <a:pt x="125" y="941"/>
                    </a:cubicBezTo>
                    <a:cubicBezTo>
                      <a:pt x="130" y="969"/>
                      <a:pt x="153" y="989"/>
                      <a:pt x="182" y="989"/>
                    </a:cubicBezTo>
                    <a:cubicBezTo>
                      <a:pt x="412" y="989"/>
                      <a:pt x="412" y="989"/>
                      <a:pt x="412" y="989"/>
                    </a:cubicBezTo>
                    <a:cubicBezTo>
                      <a:pt x="441" y="989"/>
                      <a:pt x="464" y="969"/>
                      <a:pt x="469" y="941"/>
                    </a:cubicBezTo>
                    <a:cubicBezTo>
                      <a:pt x="486" y="832"/>
                      <a:pt x="486" y="832"/>
                      <a:pt x="486" y="832"/>
                    </a:cubicBezTo>
                    <a:cubicBezTo>
                      <a:pt x="515" y="832"/>
                      <a:pt x="515" y="832"/>
                      <a:pt x="515" y="832"/>
                    </a:cubicBezTo>
                    <a:cubicBezTo>
                      <a:pt x="558" y="832"/>
                      <a:pt x="592" y="797"/>
                      <a:pt x="592" y="754"/>
                    </a:cubicBezTo>
                    <a:cubicBezTo>
                      <a:pt x="592" y="666"/>
                      <a:pt x="592" y="666"/>
                      <a:pt x="592" y="666"/>
                    </a:cubicBezTo>
                    <a:cubicBezTo>
                      <a:pt x="640" y="666"/>
                      <a:pt x="640" y="666"/>
                      <a:pt x="640" y="666"/>
                    </a:cubicBezTo>
                    <a:cubicBezTo>
                      <a:pt x="640" y="514"/>
                      <a:pt x="640" y="514"/>
                      <a:pt x="640" y="514"/>
                    </a:cubicBezTo>
                    <a:cubicBezTo>
                      <a:pt x="592" y="514"/>
                      <a:pt x="592" y="514"/>
                      <a:pt x="592" y="514"/>
                    </a:cubicBezTo>
                    <a:cubicBezTo>
                      <a:pt x="592" y="423"/>
                      <a:pt x="592" y="423"/>
                      <a:pt x="592" y="423"/>
                    </a:cubicBezTo>
                    <a:lnTo>
                      <a:pt x="640" y="423"/>
                    </a:lnTo>
                    <a:close/>
                    <a:moveTo>
                      <a:pt x="173" y="56"/>
                    </a:moveTo>
                    <a:cubicBezTo>
                      <a:pt x="173" y="51"/>
                      <a:pt x="177" y="48"/>
                      <a:pt x="182" y="48"/>
                    </a:cubicBezTo>
                    <a:cubicBezTo>
                      <a:pt x="412" y="48"/>
                      <a:pt x="412" y="48"/>
                      <a:pt x="412" y="48"/>
                    </a:cubicBezTo>
                    <a:cubicBezTo>
                      <a:pt x="417" y="48"/>
                      <a:pt x="421" y="51"/>
                      <a:pt x="421" y="56"/>
                    </a:cubicBezTo>
                    <a:cubicBezTo>
                      <a:pt x="438" y="160"/>
                      <a:pt x="438" y="160"/>
                      <a:pt x="438" y="160"/>
                    </a:cubicBezTo>
                    <a:cubicBezTo>
                      <a:pt x="156" y="160"/>
                      <a:pt x="156" y="160"/>
                      <a:pt x="156" y="160"/>
                    </a:cubicBezTo>
                    <a:lnTo>
                      <a:pt x="173" y="56"/>
                    </a:lnTo>
                    <a:close/>
                    <a:moveTo>
                      <a:pt x="421" y="934"/>
                    </a:moveTo>
                    <a:cubicBezTo>
                      <a:pt x="421" y="938"/>
                      <a:pt x="417" y="941"/>
                      <a:pt x="412" y="941"/>
                    </a:cubicBezTo>
                    <a:cubicBezTo>
                      <a:pt x="182" y="941"/>
                      <a:pt x="182" y="941"/>
                      <a:pt x="182" y="941"/>
                    </a:cubicBezTo>
                    <a:cubicBezTo>
                      <a:pt x="177" y="941"/>
                      <a:pt x="173" y="938"/>
                      <a:pt x="173" y="934"/>
                    </a:cubicBezTo>
                    <a:cubicBezTo>
                      <a:pt x="156" y="832"/>
                      <a:pt x="156" y="832"/>
                      <a:pt x="156" y="832"/>
                    </a:cubicBezTo>
                    <a:cubicBezTo>
                      <a:pt x="438" y="832"/>
                      <a:pt x="438" y="832"/>
                      <a:pt x="438" y="832"/>
                    </a:cubicBezTo>
                    <a:lnTo>
                      <a:pt x="421" y="934"/>
                    </a:lnTo>
                    <a:close/>
                    <a:moveTo>
                      <a:pt x="544" y="754"/>
                    </a:moveTo>
                    <a:cubicBezTo>
                      <a:pt x="544" y="770"/>
                      <a:pt x="531" y="784"/>
                      <a:pt x="515" y="784"/>
                    </a:cubicBezTo>
                    <a:cubicBezTo>
                      <a:pt x="77" y="784"/>
                      <a:pt x="77" y="784"/>
                      <a:pt x="77" y="784"/>
                    </a:cubicBezTo>
                    <a:cubicBezTo>
                      <a:pt x="61" y="784"/>
                      <a:pt x="48" y="770"/>
                      <a:pt x="48" y="754"/>
                    </a:cubicBezTo>
                    <a:cubicBezTo>
                      <a:pt x="48" y="238"/>
                      <a:pt x="48" y="238"/>
                      <a:pt x="48" y="238"/>
                    </a:cubicBezTo>
                    <a:cubicBezTo>
                      <a:pt x="48" y="221"/>
                      <a:pt x="61" y="208"/>
                      <a:pt x="77" y="208"/>
                    </a:cubicBezTo>
                    <a:cubicBezTo>
                      <a:pt x="515" y="208"/>
                      <a:pt x="515" y="208"/>
                      <a:pt x="515" y="208"/>
                    </a:cubicBezTo>
                    <a:cubicBezTo>
                      <a:pt x="531" y="208"/>
                      <a:pt x="544" y="221"/>
                      <a:pt x="544" y="238"/>
                    </a:cubicBezTo>
                    <a:lnTo>
                      <a:pt x="544" y="7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03" name="Group 202"/>
          <p:cNvGrpSpPr/>
          <p:nvPr/>
        </p:nvGrpSpPr>
        <p:grpSpPr>
          <a:xfrm>
            <a:off x="10635689" y="2549805"/>
            <a:ext cx="1473362" cy="1220897"/>
            <a:chOff x="10201585" y="2222616"/>
            <a:chExt cx="1473362" cy="1220897"/>
          </a:xfrm>
        </p:grpSpPr>
        <p:sp>
          <p:nvSpPr>
            <p:cNvPr id="202" name="Freeform 201"/>
            <p:cNvSpPr/>
            <p:nvPr/>
          </p:nvSpPr>
          <p:spPr>
            <a:xfrm>
              <a:off x="10303125" y="2222616"/>
              <a:ext cx="1220897" cy="1220897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8646" tIns="248646" rIns="248646" bIns="248646" numCol="1" spcCol="1270" anchor="ctr" anchorCtr="0">
              <a:noAutofit/>
            </a:bodyPr>
            <a:lstStyle/>
            <a:p>
              <a:pPr lvl="0" algn="ctr" defTabSz="2444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5500" kern="1200" dirty="0"/>
            </a:p>
          </p:txBody>
        </p:sp>
        <p:grpSp>
          <p:nvGrpSpPr>
            <p:cNvPr id="186" name="Group 185"/>
            <p:cNvGrpSpPr/>
            <p:nvPr/>
          </p:nvGrpSpPr>
          <p:grpSpPr>
            <a:xfrm>
              <a:off x="10652443" y="2367963"/>
              <a:ext cx="460907" cy="519950"/>
              <a:chOff x="-1398588" y="1927225"/>
              <a:chExt cx="768350" cy="866776"/>
            </a:xfrm>
            <a:solidFill>
              <a:schemeClr val="accent5"/>
            </a:solidFill>
          </p:grpSpPr>
          <p:sp>
            <p:nvSpPr>
              <p:cNvPr id="187" name="Freeform 59"/>
              <p:cNvSpPr>
                <a:spLocks noEditPoints="1"/>
              </p:cNvSpPr>
              <p:nvPr/>
            </p:nvSpPr>
            <p:spPr bwMode="auto">
              <a:xfrm>
                <a:off x="-1398588" y="2144713"/>
                <a:ext cx="768350" cy="649288"/>
              </a:xfrm>
              <a:custGeom>
                <a:avLst/>
                <a:gdLst>
                  <a:gd name="T0" fmla="*/ 83 w 202"/>
                  <a:gd name="T1" fmla="*/ 137 h 171"/>
                  <a:gd name="T2" fmla="*/ 79 w 202"/>
                  <a:gd name="T3" fmla="*/ 141 h 171"/>
                  <a:gd name="T4" fmla="*/ 79 w 202"/>
                  <a:gd name="T5" fmla="*/ 151 h 171"/>
                  <a:gd name="T6" fmla="*/ 83 w 202"/>
                  <a:gd name="T7" fmla="*/ 154 h 171"/>
                  <a:gd name="T8" fmla="*/ 120 w 202"/>
                  <a:gd name="T9" fmla="*/ 154 h 171"/>
                  <a:gd name="T10" fmla="*/ 123 w 202"/>
                  <a:gd name="T11" fmla="*/ 151 h 171"/>
                  <a:gd name="T12" fmla="*/ 123 w 202"/>
                  <a:gd name="T13" fmla="*/ 141 h 171"/>
                  <a:gd name="T14" fmla="*/ 120 w 202"/>
                  <a:gd name="T15" fmla="*/ 137 h 171"/>
                  <a:gd name="T16" fmla="*/ 116 w 202"/>
                  <a:gd name="T17" fmla="*/ 141 h 171"/>
                  <a:gd name="T18" fmla="*/ 116 w 202"/>
                  <a:gd name="T19" fmla="*/ 147 h 171"/>
                  <a:gd name="T20" fmla="*/ 86 w 202"/>
                  <a:gd name="T21" fmla="*/ 147 h 171"/>
                  <a:gd name="T22" fmla="*/ 86 w 202"/>
                  <a:gd name="T23" fmla="*/ 141 h 171"/>
                  <a:gd name="T24" fmla="*/ 83 w 202"/>
                  <a:gd name="T25" fmla="*/ 137 h 171"/>
                  <a:gd name="T26" fmla="*/ 138 w 202"/>
                  <a:gd name="T27" fmla="*/ 161 h 171"/>
                  <a:gd name="T28" fmla="*/ 64 w 202"/>
                  <a:gd name="T29" fmla="*/ 161 h 171"/>
                  <a:gd name="T30" fmla="*/ 59 w 202"/>
                  <a:gd name="T31" fmla="*/ 166 h 171"/>
                  <a:gd name="T32" fmla="*/ 64 w 202"/>
                  <a:gd name="T33" fmla="*/ 171 h 171"/>
                  <a:gd name="T34" fmla="*/ 138 w 202"/>
                  <a:gd name="T35" fmla="*/ 171 h 171"/>
                  <a:gd name="T36" fmla="*/ 143 w 202"/>
                  <a:gd name="T37" fmla="*/ 166 h 171"/>
                  <a:gd name="T38" fmla="*/ 138 w 202"/>
                  <a:gd name="T39" fmla="*/ 161 h 171"/>
                  <a:gd name="T40" fmla="*/ 197 w 202"/>
                  <a:gd name="T41" fmla="*/ 0 h 171"/>
                  <a:gd name="T42" fmla="*/ 171 w 202"/>
                  <a:gd name="T43" fmla="*/ 0 h 171"/>
                  <a:gd name="T44" fmla="*/ 168 w 202"/>
                  <a:gd name="T45" fmla="*/ 4 h 171"/>
                  <a:gd name="T46" fmla="*/ 167 w 202"/>
                  <a:gd name="T47" fmla="*/ 10 h 171"/>
                  <a:gd name="T48" fmla="*/ 193 w 202"/>
                  <a:gd name="T49" fmla="*/ 10 h 171"/>
                  <a:gd name="T50" fmla="*/ 193 w 202"/>
                  <a:gd name="T51" fmla="*/ 121 h 171"/>
                  <a:gd name="T52" fmla="*/ 10 w 202"/>
                  <a:gd name="T53" fmla="*/ 121 h 171"/>
                  <a:gd name="T54" fmla="*/ 10 w 202"/>
                  <a:gd name="T55" fmla="*/ 10 h 171"/>
                  <a:gd name="T56" fmla="*/ 25 w 202"/>
                  <a:gd name="T57" fmla="*/ 10 h 171"/>
                  <a:gd name="T58" fmla="*/ 23 w 202"/>
                  <a:gd name="T59" fmla="*/ 0 h 171"/>
                  <a:gd name="T60" fmla="*/ 5 w 202"/>
                  <a:gd name="T61" fmla="*/ 0 h 171"/>
                  <a:gd name="T62" fmla="*/ 0 w 202"/>
                  <a:gd name="T63" fmla="*/ 5 h 171"/>
                  <a:gd name="T64" fmla="*/ 0 w 202"/>
                  <a:gd name="T65" fmla="*/ 125 h 171"/>
                  <a:gd name="T66" fmla="*/ 5 w 202"/>
                  <a:gd name="T67" fmla="*/ 130 h 171"/>
                  <a:gd name="T68" fmla="*/ 197 w 202"/>
                  <a:gd name="T69" fmla="*/ 130 h 171"/>
                  <a:gd name="T70" fmla="*/ 202 w 202"/>
                  <a:gd name="T71" fmla="*/ 125 h 171"/>
                  <a:gd name="T72" fmla="*/ 202 w 202"/>
                  <a:gd name="T73" fmla="*/ 5 h 171"/>
                  <a:gd name="T74" fmla="*/ 197 w 202"/>
                  <a:gd name="T75" fmla="*/ 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02" h="171">
                    <a:moveTo>
                      <a:pt x="83" y="137"/>
                    </a:moveTo>
                    <a:cubicBezTo>
                      <a:pt x="81" y="137"/>
                      <a:pt x="79" y="139"/>
                      <a:pt x="79" y="141"/>
                    </a:cubicBezTo>
                    <a:cubicBezTo>
                      <a:pt x="79" y="151"/>
                      <a:pt x="79" y="151"/>
                      <a:pt x="79" y="151"/>
                    </a:cubicBezTo>
                    <a:cubicBezTo>
                      <a:pt x="79" y="153"/>
                      <a:pt x="81" y="154"/>
                      <a:pt x="83" y="154"/>
                    </a:cubicBezTo>
                    <a:cubicBezTo>
                      <a:pt x="120" y="154"/>
                      <a:pt x="120" y="154"/>
                      <a:pt x="120" y="154"/>
                    </a:cubicBezTo>
                    <a:cubicBezTo>
                      <a:pt x="122" y="154"/>
                      <a:pt x="123" y="153"/>
                      <a:pt x="123" y="151"/>
                    </a:cubicBezTo>
                    <a:cubicBezTo>
                      <a:pt x="123" y="141"/>
                      <a:pt x="123" y="141"/>
                      <a:pt x="123" y="141"/>
                    </a:cubicBezTo>
                    <a:cubicBezTo>
                      <a:pt x="123" y="139"/>
                      <a:pt x="122" y="137"/>
                      <a:pt x="120" y="137"/>
                    </a:cubicBezTo>
                    <a:cubicBezTo>
                      <a:pt x="118" y="137"/>
                      <a:pt x="116" y="139"/>
                      <a:pt x="116" y="141"/>
                    </a:cubicBezTo>
                    <a:cubicBezTo>
                      <a:pt x="116" y="147"/>
                      <a:pt x="116" y="147"/>
                      <a:pt x="116" y="147"/>
                    </a:cubicBezTo>
                    <a:cubicBezTo>
                      <a:pt x="86" y="147"/>
                      <a:pt x="86" y="147"/>
                      <a:pt x="86" y="147"/>
                    </a:cubicBezTo>
                    <a:cubicBezTo>
                      <a:pt x="86" y="141"/>
                      <a:pt x="86" y="141"/>
                      <a:pt x="86" y="141"/>
                    </a:cubicBezTo>
                    <a:cubicBezTo>
                      <a:pt x="86" y="139"/>
                      <a:pt x="85" y="137"/>
                      <a:pt x="83" y="137"/>
                    </a:cubicBezTo>
                    <a:close/>
                    <a:moveTo>
                      <a:pt x="138" y="161"/>
                    </a:moveTo>
                    <a:cubicBezTo>
                      <a:pt x="64" y="161"/>
                      <a:pt x="64" y="161"/>
                      <a:pt x="64" y="161"/>
                    </a:cubicBezTo>
                    <a:cubicBezTo>
                      <a:pt x="61" y="161"/>
                      <a:pt x="59" y="163"/>
                      <a:pt x="59" y="166"/>
                    </a:cubicBezTo>
                    <a:cubicBezTo>
                      <a:pt x="59" y="169"/>
                      <a:pt x="61" y="171"/>
                      <a:pt x="64" y="171"/>
                    </a:cubicBezTo>
                    <a:cubicBezTo>
                      <a:pt x="138" y="171"/>
                      <a:pt x="138" y="171"/>
                      <a:pt x="138" y="171"/>
                    </a:cubicBezTo>
                    <a:cubicBezTo>
                      <a:pt x="141" y="171"/>
                      <a:pt x="143" y="169"/>
                      <a:pt x="143" y="166"/>
                    </a:cubicBezTo>
                    <a:cubicBezTo>
                      <a:pt x="143" y="163"/>
                      <a:pt x="141" y="161"/>
                      <a:pt x="138" y="161"/>
                    </a:cubicBezTo>
                    <a:close/>
                    <a:moveTo>
                      <a:pt x="197" y="0"/>
                    </a:moveTo>
                    <a:cubicBezTo>
                      <a:pt x="171" y="0"/>
                      <a:pt x="171" y="0"/>
                      <a:pt x="171" y="0"/>
                    </a:cubicBezTo>
                    <a:cubicBezTo>
                      <a:pt x="170" y="2"/>
                      <a:pt x="169" y="3"/>
                      <a:pt x="168" y="4"/>
                    </a:cubicBezTo>
                    <a:cubicBezTo>
                      <a:pt x="168" y="6"/>
                      <a:pt x="168" y="8"/>
                      <a:pt x="167" y="10"/>
                    </a:cubicBezTo>
                    <a:cubicBezTo>
                      <a:pt x="193" y="10"/>
                      <a:pt x="193" y="10"/>
                      <a:pt x="193" y="10"/>
                    </a:cubicBezTo>
                    <a:cubicBezTo>
                      <a:pt x="193" y="121"/>
                      <a:pt x="193" y="121"/>
                      <a:pt x="193" y="121"/>
                    </a:cubicBezTo>
                    <a:cubicBezTo>
                      <a:pt x="10" y="121"/>
                      <a:pt x="10" y="121"/>
                      <a:pt x="10" y="121"/>
                    </a:cubicBezTo>
                    <a:cubicBezTo>
                      <a:pt x="10" y="10"/>
                      <a:pt x="10" y="10"/>
                      <a:pt x="10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3" y="7"/>
                      <a:pt x="22" y="4"/>
                      <a:pt x="23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0" y="128"/>
                      <a:pt x="2" y="130"/>
                      <a:pt x="5" y="130"/>
                    </a:cubicBezTo>
                    <a:cubicBezTo>
                      <a:pt x="197" y="130"/>
                      <a:pt x="197" y="130"/>
                      <a:pt x="197" y="130"/>
                    </a:cubicBezTo>
                    <a:cubicBezTo>
                      <a:pt x="200" y="130"/>
                      <a:pt x="202" y="128"/>
                      <a:pt x="202" y="125"/>
                    </a:cubicBezTo>
                    <a:cubicBezTo>
                      <a:pt x="202" y="5"/>
                      <a:pt x="202" y="5"/>
                      <a:pt x="202" y="5"/>
                    </a:cubicBezTo>
                    <a:cubicBezTo>
                      <a:pt x="202" y="2"/>
                      <a:pt x="200" y="0"/>
                      <a:pt x="19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60"/>
              <p:cNvSpPr>
                <a:spLocks noEditPoints="1"/>
              </p:cNvSpPr>
              <p:nvPr/>
            </p:nvSpPr>
            <p:spPr bwMode="auto">
              <a:xfrm>
                <a:off x="-1295401" y="1927225"/>
                <a:ext cx="563563" cy="233363"/>
              </a:xfrm>
              <a:custGeom>
                <a:avLst/>
                <a:gdLst>
                  <a:gd name="T0" fmla="*/ 129 w 148"/>
                  <a:gd name="T1" fmla="*/ 9 h 61"/>
                  <a:gd name="T2" fmla="*/ 113 w 148"/>
                  <a:gd name="T3" fmla="*/ 25 h 61"/>
                  <a:gd name="T4" fmla="*/ 107 w 148"/>
                  <a:gd name="T5" fmla="*/ 24 h 61"/>
                  <a:gd name="T6" fmla="*/ 98 w 148"/>
                  <a:gd name="T7" fmla="*/ 35 h 61"/>
                  <a:gd name="T8" fmla="*/ 74 w 148"/>
                  <a:gd name="T9" fmla="*/ 43 h 61"/>
                  <a:gd name="T10" fmla="*/ 46 w 148"/>
                  <a:gd name="T11" fmla="*/ 25 h 61"/>
                  <a:gd name="T12" fmla="*/ 38 w 148"/>
                  <a:gd name="T13" fmla="*/ 12 h 61"/>
                  <a:gd name="T14" fmla="*/ 30 w 148"/>
                  <a:gd name="T15" fmla="*/ 25 h 61"/>
                  <a:gd name="T16" fmla="*/ 9 w 148"/>
                  <a:gd name="T17" fmla="*/ 34 h 61"/>
                  <a:gd name="T18" fmla="*/ 9 w 148"/>
                  <a:gd name="T19" fmla="*/ 52 h 61"/>
                  <a:gd name="T20" fmla="*/ 18 w 148"/>
                  <a:gd name="T21" fmla="*/ 41 h 61"/>
                  <a:gd name="T22" fmla="*/ 38 w 148"/>
                  <a:gd name="T23" fmla="*/ 30 h 61"/>
                  <a:gd name="T24" fmla="*/ 65 w 148"/>
                  <a:gd name="T25" fmla="*/ 49 h 61"/>
                  <a:gd name="T26" fmla="*/ 74 w 148"/>
                  <a:gd name="T27" fmla="*/ 61 h 61"/>
                  <a:gd name="T28" fmla="*/ 83 w 148"/>
                  <a:gd name="T29" fmla="*/ 50 h 61"/>
                  <a:gd name="T30" fmla="*/ 107 w 148"/>
                  <a:gd name="T31" fmla="*/ 42 h 61"/>
                  <a:gd name="T32" fmla="*/ 115 w 148"/>
                  <a:gd name="T33" fmla="*/ 27 h 61"/>
                  <a:gd name="T34" fmla="*/ 133 w 148"/>
                  <a:gd name="T35" fmla="*/ 16 h 61"/>
                  <a:gd name="T36" fmla="*/ 148 w 148"/>
                  <a:gd name="T37" fmla="*/ 9 h 61"/>
                  <a:gd name="T38" fmla="*/ 9 w 148"/>
                  <a:gd name="T39" fmla="*/ 49 h 61"/>
                  <a:gd name="T40" fmla="*/ 9 w 148"/>
                  <a:gd name="T41" fmla="*/ 38 h 61"/>
                  <a:gd name="T42" fmla="*/ 9 w 148"/>
                  <a:gd name="T43" fmla="*/ 49 h 61"/>
                  <a:gd name="T44" fmla="*/ 32 w 148"/>
                  <a:gd name="T45" fmla="*/ 21 h 61"/>
                  <a:gd name="T46" fmla="*/ 44 w 148"/>
                  <a:gd name="T47" fmla="*/ 21 h 61"/>
                  <a:gd name="T48" fmla="*/ 74 w 148"/>
                  <a:gd name="T49" fmla="*/ 58 h 61"/>
                  <a:gd name="T50" fmla="*/ 74 w 148"/>
                  <a:gd name="T51" fmla="*/ 46 h 61"/>
                  <a:gd name="T52" fmla="*/ 74 w 148"/>
                  <a:gd name="T53" fmla="*/ 58 h 61"/>
                  <a:gd name="T54" fmla="*/ 101 w 148"/>
                  <a:gd name="T55" fmla="*/ 33 h 61"/>
                  <a:gd name="T56" fmla="*/ 113 w 148"/>
                  <a:gd name="T57" fmla="*/ 33 h 61"/>
                  <a:gd name="T58" fmla="*/ 138 w 148"/>
                  <a:gd name="T59" fmla="*/ 14 h 61"/>
                  <a:gd name="T60" fmla="*/ 138 w 148"/>
                  <a:gd name="T61" fmla="*/ 3 h 61"/>
                  <a:gd name="T62" fmla="*/ 138 w 148"/>
                  <a:gd name="T63" fmla="*/ 1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8" h="61">
                    <a:moveTo>
                      <a:pt x="138" y="0"/>
                    </a:moveTo>
                    <a:cubicBezTo>
                      <a:pt x="133" y="0"/>
                      <a:pt x="129" y="4"/>
                      <a:pt x="129" y="9"/>
                    </a:cubicBezTo>
                    <a:cubicBezTo>
                      <a:pt x="129" y="10"/>
                      <a:pt x="129" y="11"/>
                      <a:pt x="130" y="12"/>
                    </a:cubicBezTo>
                    <a:cubicBezTo>
                      <a:pt x="113" y="25"/>
                      <a:pt x="113" y="25"/>
                      <a:pt x="113" y="25"/>
                    </a:cubicBezTo>
                    <a:cubicBezTo>
                      <a:pt x="114" y="27"/>
                      <a:pt x="114" y="27"/>
                      <a:pt x="114" y="27"/>
                    </a:cubicBezTo>
                    <a:cubicBezTo>
                      <a:pt x="113" y="25"/>
                      <a:pt x="110" y="24"/>
                      <a:pt x="107" y="24"/>
                    </a:cubicBezTo>
                    <a:cubicBezTo>
                      <a:pt x="102" y="24"/>
                      <a:pt x="98" y="28"/>
                      <a:pt x="98" y="33"/>
                    </a:cubicBezTo>
                    <a:cubicBezTo>
                      <a:pt x="98" y="34"/>
                      <a:pt x="98" y="35"/>
                      <a:pt x="98" y="35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79" y="44"/>
                      <a:pt x="76" y="43"/>
                      <a:pt x="74" y="43"/>
                    </a:cubicBezTo>
                    <a:cubicBezTo>
                      <a:pt x="72" y="43"/>
                      <a:pt x="70" y="44"/>
                      <a:pt x="68" y="45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47" y="24"/>
                      <a:pt x="47" y="23"/>
                      <a:pt x="47" y="21"/>
                    </a:cubicBezTo>
                    <a:cubicBezTo>
                      <a:pt x="47" y="16"/>
                      <a:pt x="43" y="12"/>
                      <a:pt x="38" y="12"/>
                    </a:cubicBezTo>
                    <a:cubicBezTo>
                      <a:pt x="33" y="12"/>
                      <a:pt x="29" y="16"/>
                      <a:pt x="29" y="21"/>
                    </a:cubicBezTo>
                    <a:cubicBezTo>
                      <a:pt x="29" y="22"/>
                      <a:pt x="29" y="24"/>
                      <a:pt x="30" y="25"/>
                    </a:cubicBezTo>
                    <a:cubicBezTo>
                      <a:pt x="15" y="37"/>
                      <a:pt x="15" y="37"/>
                      <a:pt x="15" y="37"/>
                    </a:cubicBezTo>
                    <a:cubicBezTo>
                      <a:pt x="14" y="35"/>
                      <a:pt x="11" y="34"/>
                      <a:pt x="9" y="34"/>
                    </a:cubicBezTo>
                    <a:cubicBezTo>
                      <a:pt x="4" y="34"/>
                      <a:pt x="0" y="38"/>
                      <a:pt x="0" y="43"/>
                    </a:cubicBezTo>
                    <a:cubicBezTo>
                      <a:pt x="0" y="48"/>
                      <a:pt x="4" y="52"/>
                      <a:pt x="9" y="52"/>
                    </a:cubicBezTo>
                    <a:cubicBezTo>
                      <a:pt x="14" y="52"/>
                      <a:pt x="18" y="48"/>
                      <a:pt x="18" y="43"/>
                    </a:cubicBezTo>
                    <a:cubicBezTo>
                      <a:pt x="18" y="42"/>
                      <a:pt x="18" y="42"/>
                      <a:pt x="18" y="41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5" y="29"/>
                      <a:pt x="37" y="30"/>
                      <a:pt x="38" y="30"/>
                    </a:cubicBezTo>
                    <a:cubicBezTo>
                      <a:pt x="40" y="30"/>
                      <a:pt x="41" y="29"/>
                      <a:pt x="42" y="29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5" y="50"/>
                      <a:pt x="65" y="51"/>
                      <a:pt x="65" y="52"/>
                    </a:cubicBezTo>
                    <a:cubicBezTo>
                      <a:pt x="65" y="57"/>
                      <a:pt x="69" y="61"/>
                      <a:pt x="74" y="61"/>
                    </a:cubicBezTo>
                    <a:cubicBezTo>
                      <a:pt x="79" y="61"/>
                      <a:pt x="83" y="57"/>
                      <a:pt x="83" y="52"/>
                    </a:cubicBezTo>
                    <a:cubicBezTo>
                      <a:pt x="83" y="51"/>
                      <a:pt x="83" y="50"/>
                      <a:pt x="83" y="50"/>
                    </a:cubicBezTo>
                    <a:cubicBezTo>
                      <a:pt x="101" y="39"/>
                      <a:pt x="101" y="39"/>
                      <a:pt x="101" y="39"/>
                    </a:cubicBezTo>
                    <a:cubicBezTo>
                      <a:pt x="103" y="41"/>
                      <a:pt x="105" y="42"/>
                      <a:pt x="107" y="42"/>
                    </a:cubicBezTo>
                    <a:cubicBezTo>
                      <a:pt x="112" y="42"/>
                      <a:pt x="116" y="38"/>
                      <a:pt x="116" y="33"/>
                    </a:cubicBezTo>
                    <a:cubicBezTo>
                      <a:pt x="116" y="31"/>
                      <a:pt x="116" y="29"/>
                      <a:pt x="115" y="27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133" y="16"/>
                      <a:pt x="133" y="16"/>
                      <a:pt x="133" y="16"/>
                    </a:cubicBezTo>
                    <a:cubicBezTo>
                      <a:pt x="134" y="17"/>
                      <a:pt x="136" y="17"/>
                      <a:pt x="138" y="17"/>
                    </a:cubicBezTo>
                    <a:cubicBezTo>
                      <a:pt x="143" y="17"/>
                      <a:pt x="148" y="13"/>
                      <a:pt x="148" y="9"/>
                    </a:cubicBezTo>
                    <a:cubicBezTo>
                      <a:pt x="148" y="4"/>
                      <a:pt x="143" y="0"/>
                      <a:pt x="138" y="0"/>
                    </a:cubicBezTo>
                    <a:close/>
                    <a:moveTo>
                      <a:pt x="9" y="49"/>
                    </a:moveTo>
                    <a:cubicBezTo>
                      <a:pt x="6" y="49"/>
                      <a:pt x="3" y="46"/>
                      <a:pt x="3" y="43"/>
                    </a:cubicBezTo>
                    <a:cubicBezTo>
                      <a:pt x="3" y="40"/>
                      <a:pt x="6" y="38"/>
                      <a:pt x="9" y="38"/>
                    </a:cubicBezTo>
                    <a:cubicBezTo>
                      <a:pt x="12" y="38"/>
                      <a:pt x="15" y="40"/>
                      <a:pt x="15" y="43"/>
                    </a:cubicBezTo>
                    <a:cubicBezTo>
                      <a:pt x="15" y="46"/>
                      <a:pt x="12" y="49"/>
                      <a:pt x="9" y="49"/>
                    </a:cubicBezTo>
                    <a:close/>
                    <a:moveTo>
                      <a:pt x="38" y="26"/>
                    </a:moveTo>
                    <a:cubicBezTo>
                      <a:pt x="35" y="26"/>
                      <a:pt x="32" y="24"/>
                      <a:pt x="32" y="21"/>
                    </a:cubicBezTo>
                    <a:cubicBezTo>
                      <a:pt x="32" y="18"/>
                      <a:pt x="35" y="15"/>
                      <a:pt x="38" y="15"/>
                    </a:cubicBezTo>
                    <a:cubicBezTo>
                      <a:pt x="41" y="15"/>
                      <a:pt x="44" y="18"/>
                      <a:pt x="44" y="21"/>
                    </a:cubicBezTo>
                    <a:cubicBezTo>
                      <a:pt x="44" y="24"/>
                      <a:pt x="41" y="26"/>
                      <a:pt x="38" y="26"/>
                    </a:cubicBezTo>
                    <a:close/>
                    <a:moveTo>
                      <a:pt x="74" y="58"/>
                    </a:moveTo>
                    <a:cubicBezTo>
                      <a:pt x="71" y="58"/>
                      <a:pt x="68" y="55"/>
                      <a:pt x="68" y="52"/>
                    </a:cubicBezTo>
                    <a:cubicBezTo>
                      <a:pt x="68" y="49"/>
                      <a:pt x="71" y="46"/>
                      <a:pt x="74" y="46"/>
                    </a:cubicBezTo>
                    <a:cubicBezTo>
                      <a:pt x="77" y="46"/>
                      <a:pt x="80" y="49"/>
                      <a:pt x="80" y="52"/>
                    </a:cubicBezTo>
                    <a:cubicBezTo>
                      <a:pt x="80" y="55"/>
                      <a:pt x="77" y="58"/>
                      <a:pt x="74" y="58"/>
                    </a:cubicBezTo>
                    <a:close/>
                    <a:moveTo>
                      <a:pt x="107" y="38"/>
                    </a:moveTo>
                    <a:cubicBezTo>
                      <a:pt x="104" y="38"/>
                      <a:pt x="101" y="36"/>
                      <a:pt x="101" y="33"/>
                    </a:cubicBezTo>
                    <a:cubicBezTo>
                      <a:pt x="101" y="30"/>
                      <a:pt x="104" y="27"/>
                      <a:pt x="107" y="27"/>
                    </a:cubicBezTo>
                    <a:cubicBezTo>
                      <a:pt x="111" y="27"/>
                      <a:pt x="113" y="30"/>
                      <a:pt x="113" y="33"/>
                    </a:cubicBezTo>
                    <a:cubicBezTo>
                      <a:pt x="113" y="36"/>
                      <a:pt x="111" y="38"/>
                      <a:pt x="107" y="38"/>
                    </a:cubicBezTo>
                    <a:close/>
                    <a:moveTo>
                      <a:pt x="138" y="14"/>
                    </a:moveTo>
                    <a:cubicBezTo>
                      <a:pt x="135" y="14"/>
                      <a:pt x="132" y="12"/>
                      <a:pt x="132" y="9"/>
                    </a:cubicBezTo>
                    <a:cubicBezTo>
                      <a:pt x="132" y="5"/>
                      <a:pt x="135" y="3"/>
                      <a:pt x="138" y="3"/>
                    </a:cubicBezTo>
                    <a:cubicBezTo>
                      <a:pt x="142" y="3"/>
                      <a:pt x="144" y="5"/>
                      <a:pt x="144" y="9"/>
                    </a:cubicBezTo>
                    <a:cubicBezTo>
                      <a:pt x="144" y="12"/>
                      <a:pt x="142" y="14"/>
                      <a:pt x="138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61"/>
              <p:cNvSpPr>
                <a:spLocks/>
              </p:cNvSpPr>
              <p:nvPr/>
            </p:nvSpPr>
            <p:spPr bwMode="auto">
              <a:xfrm>
                <a:off x="-884238" y="2008188"/>
                <a:ext cx="109538" cy="390525"/>
              </a:xfrm>
              <a:custGeom>
                <a:avLst/>
                <a:gdLst>
                  <a:gd name="T0" fmla="*/ 12 w 29"/>
                  <a:gd name="T1" fmla="*/ 11 h 103"/>
                  <a:gd name="T2" fmla="*/ 12 w 29"/>
                  <a:gd name="T3" fmla="*/ 14 h 103"/>
                  <a:gd name="T4" fmla="*/ 0 w 29"/>
                  <a:gd name="T5" fmla="*/ 26 h 103"/>
                  <a:gd name="T6" fmla="*/ 0 w 29"/>
                  <a:gd name="T7" fmla="*/ 103 h 103"/>
                  <a:gd name="T8" fmla="*/ 29 w 29"/>
                  <a:gd name="T9" fmla="*/ 103 h 103"/>
                  <a:gd name="T10" fmla="*/ 29 w 29"/>
                  <a:gd name="T11" fmla="*/ 1 h 103"/>
                  <a:gd name="T12" fmla="*/ 25 w 29"/>
                  <a:gd name="T13" fmla="*/ 0 h 103"/>
                  <a:gd name="T14" fmla="*/ 12 w 29"/>
                  <a:gd name="T15" fmla="*/ 11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103">
                    <a:moveTo>
                      <a:pt x="12" y="11"/>
                    </a:moveTo>
                    <a:cubicBezTo>
                      <a:pt x="12" y="12"/>
                      <a:pt x="12" y="13"/>
                      <a:pt x="12" y="14"/>
                    </a:cubicBezTo>
                    <a:cubicBezTo>
                      <a:pt x="12" y="20"/>
                      <a:pt x="6" y="25"/>
                      <a:pt x="0" y="26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29" y="103"/>
                      <a:pt x="29" y="103"/>
                      <a:pt x="29" y="103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28" y="1"/>
                      <a:pt x="26" y="1"/>
                      <a:pt x="25" y="0"/>
                    </a:cubicBez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62"/>
              <p:cNvSpPr>
                <a:spLocks/>
              </p:cNvSpPr>
              <p:nvPr/>
            </p:nvSpPr>
            <p:spPr bwMode="auto">
              <a:xfrm>
                <a:off x="-1270001" y="2057400"/>
                <a:ext cx="111125" cy="341313"/>
              </a:xfrm>
              <a:custGeom>
                <a:avLst/>
                <a:gdLst>
                  <a:gd name="T0" fmla="*/ 14 w 29"/>
                  <a:gd name="T1" fmla="*/ 10 h 90"/>
                  <a:gd name="T2" fmla="*/ 14 w 29"/>
                  <a:gd name="T3" fmla="*/ 11 h 90"/>
                  <a:gd name="T4" fmla="*/ 2 w 29"/>
                  <a:gd name="T5" fmla="*/ 23 h 90"/>
                  <a:gd name="T6" fmla="*/ 0 w 29"/>
                  <a:gd name="T7" fmla="*/ 23 h 90"/>
                  <a:gd name="T8" fmla="*/ 0 w 29"/>
                  <a:gd name="T9" fmla="*/ 90 h 90"/>
                  <a:gd name="T10" fmla="*/ 29 w 29"/>
                  <a:gd name="T11" fmla="*/ 90 h 90"/>
                  <a:gd name="T12" fmla="*/ 29 w 29"/>
                  <a:gd name="T13" fmla="*/ 1 h 90"/>
                  <a:gd name="T14" fmla="*/ 27 w 29"/>
                  <a:gd name="T15" fmla="*/ 0 h 90"/>
                  <a:gd name="T16" fmla="*/ 14 w 29"/>
                  <a:gd name="T17" fmla="*/ 1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90">
                    <a:moveTo>
                      <a:pt x="14" y="10"/>
                    </a:moveTo>
                    <a:cubicBezTo>
                      <a:pt x="14" y="10"/>
                      <a:pt x="14" y="11"/>
                      <a:pt x="14" y="11"/>
                    </a:cubicBezTo>
                    <a:cubicBezTo>
                      <a:pt x="14" y="18"/>
                      <a:pt x="9" y="23"/>
                      <a:pt x="2" y="23"/>
                    </a:cubicBezTo>
                    <a:cubicBezTo>
                      <a:pt x="1" y="23"/>
                      <a:pt x="1" y="23"/>
                      <a:pt x="0" y="23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29" y="90"/>
                      <a:pt x="29" y="90"/>
                      <a:pt x="29" y="90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29" y="0"/>
                      <a:pt x="28" y="0"/>
                      <a:pt x="27" y="0"/>
                    </a:cubicBezTo>
                    <a:lnTo>
                      <a:pt x="1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63"/>
              <p:cNvSpPr>
                <a:spLocks/>
              </p:cNvSpPr>
              <p:nvPr/>
            </p:nvSpPr>
            <p:spPr bwMode="auto">
              <a:xfrm>
                <a:off x="-1014413" y="2098675"/>
                <a:ext cx="111125" cy="300038"/>
              </a:xfrm>
              <a:custGeom>
                <a:avLst/>
                <a:gdLst>
                  <a:gd name="T0" fmla="*/ 13 w 29"/>
                  <a:gd name="T1" fmla="*/ 8 h 79"/>
                  <a:gd name="T2" fmla="*/ 13 w 29"/>
                  <a:gd name="T3" fmla="*/ 9 h 79"/>
                  <a:gd name="T4" fmla="*/ 0 w 29"/>
                  <a:gd name="T5" fmla="*/ 21 h 79"/>
                  <a:gd name="T6" fmla="*/ 0 w 29"/>
                  <a:gd name="T7" fmla="*/ 79 h 79"/>
                  <a:gd name="T8" fmla="*/ 29 w 29"/>
                  <a:gd name="T9" fmla="*/ 79 h 79"/>
                  <a:gd name="T10" fmla="*/ 29 w 29"/>
                  <a:gd name="T11" fmla="*/ 1 h 79"/>
                  <a:gd name="T12" fmla="*/ 27 w 29"/>
                  <a:gd name="T13" fmla="*/ 0 h 79"/>
                  <a:gd name="T14" fmla="*/ 13 w 29"/>
                  <a:gd name="T15" fmla="*/ 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79">
                    <a:moveTo>
                      <a:pt x="13" y="8"/>
                    </a:moveTo>
                    <a:cubicBezTo>
                      <a:pt x="13" y="8"/>
                      <a:pt x="13" y="9"/>
                      <a:pt x="13" y="9"/>
                    </a:cubicBezTo>
                    <a:cubicBezTo>
                      <a:pt x="13" y="15"/>
                      <a:pt x="7" y="21"/>
                      <a:pt x="0" y="2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29" y="79"/>
                      <a:pt x="29" y="79"/>
                      <a:pt x="29" y="79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29" y="1"/>
                      <a:pt x="28" y="0"/>
                      <a:pt x="27" y="0"/>
                    </a:cubicBezTo>
                    <a:lnTo>
                      <a:pt x="13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64"/>
              <p:cNvSpPr>
                <a:spLocks/>
              </p:cNvSpPr>
              <p:nvPr/>
            </p:nvSpPr>
            <p:spPr bwMode="auto">
              <a:xfrm>
                <a:off x="-1139826" y="2057400"/>
                <a:ext cx="111125" cy="341313"/>
              </a:xfrm>
              <a:custGeom>
                <a:avLst/>
                <a:gdLst>
                  <a:gd name="T0" fmla="*/ 20 w 29"/>
                  <a:gd name="T1" fmla="*/ 20 h 90"/>
                  <a:gd name="T2" fmla="*/ 21 w 29"/>
                  <a:gd name="T3" fmla="*/ 18 h 90"/>
                  <a:gd name="T4" fmla="*/ 1 w 29"/>
                  <a:gd name="T5" fmla="*/ 0 h 90"/>
                  <a:gd name="T6" fmla="*/ 0 w 29"/>
                  <a:gd name="T7" fmla="*/ 0 h 90"/>
                  <a:gd name="T8" fmla="*/ 0 w 29"/>
                  <a:gd name="T9" fmla="*/ 90 h 90"/>
                  <a:gd name="T10" fmla="*/ 29 w 29"/>
                  <a:gd name="T11" fmla="*/ 90 h 90"/>
                  <a:gd name="T12" fmla="*/ 29 w 29"/>
                  <a:gd name="T13" fmla="*/ 31 h 90"/>
                  <a:gd name="T14" fmla="*/ 20 w 29"/>
                  <a:gd name="T15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90">
                    <a:moveTo>
                      <a:pt x="20" y="20"/>
                    </a:moveTo>
                    <a:cubicBezTo>
                      <a:pt x="20" y="19"/>
                      <a:pt x="21" y="19"/>
                      <a:pt x="21" y="18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29" y="90"/>
                      <a:pt x="29" y="90"/>
                      <a:pt x="29" y="90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4" y="29"/>
                      <a:pt x="20" y="25"/>
                      <a:pt x="20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193" name="TextBox 192"/>
            <p:cNvSpPr txBox="1"/>
            <p:nvPr/>
          </p:nvSpPr>
          <p:spPr>
            <a:xfrm>
              <a:off x="10201585" y="2923369"/>
              <a:ext cx="1473362" cy="42062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1200" b="1" dirty="0">
                  <a:solidFill>
                    <a:schemeClr val="tx2"/>
                  </a:solidFill>
                  <a:latin typeface="+mn-lt"/>
                </a:rPr>
                <a:t>Web-based </a:t>
              </a:r>
            </a:p>
            <a:p>
              <a:pPr algn="ctr">
                <a:spcBef>
                  <a:spcPts val="400"/>
                </a:spcBef>
              </a:pPr>
              <a:r>
                <a:rPr lang="en-US" sz="1200" b="1" dirty="0">
                  <a:solidFill>
                    <a:schemeClr val="tx2"/>
                  </a:solidFill>
                  <a:latin typeface="+mn-lt"/>
                </a:rPr>
                <a:t>Programs</a:t>
              </a:r>
            </a:p>
          </p:txBody>
        </p:sp>
      </p:grpSp>
      <p:sp>
        <p:nvSpPr>
          <p:cNvPr id="206" name="Freeform 205"/>
          <p:cNvSpPr/>
          <p:nvPr/>
        </p:nvSpPr>
        <p:spPr>
          <a:xfrm>
            <a:off x="9277643" y="3339634"/>
            <a:ext cx="1097280" cy="1097280"/>
          </a:xfrm>
          <a:custGeom>
            <a:avLst/>
            <a:gdLst>
              <a:gd name="connsiteX0" fmla="*/ 0 w 1356552"/>
              <a:gd name="connsiteY0" fmla="*/ 678276 h 1356552"/>
              <a:gd name="connsiteX1" fmla="*/ 678276 w 1356552"/>
              <a:gd name="connsiteY1" fmla="*/ 0 h 1356552"/>
              <a:gd name="connsiteX2" fmla="*/ 1356552 w 1356552"/>
              <a:gd name="connsiteY2" fmla="*/ 678276 h 1356552"/>
              <a:gd name="connsiteX3" fmla="*/ 678276 w 1356552"/>
              <a:gd name="connsiteY3" fmla="*/ 1356552 h 1356552"/>
              <a:gd name="connsiteX4" fmla="*/ 0 w 1356552"/>
              <a:gd name="connsiteY4" fmla="*/ 678276 h 1356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6552" h="1356552">
                <a:moveTo>
                  <a:pt x="0" y="678276"/>
                </a:moveTo>
                <a:cubicBezTo>
                  <a:pt x="0" y="303675"/>
                  <a:pt x="303675" y="0"/>
                  <a:pt x="678276" y="0"/>
                </a:cubicBezTo>
                <a:cubicBezTo>
                  <a:pt x="1052877" y="0"/>
                  <a:pt x="1356552" y="303675"/>
                  <a:pt x="1356552" y="678276"/>
                </a:cubicBezTo>
                <a:cubicBezTo>
                  <a:pt x="1356552" y="1052877"/>
                  <a:pt x="1052877" y="1356552"/>
                  <a:pt x="678276" y="1356552"/>
                </a:cubicBezTo>
                <a:cubicBezTo>
                  <a:pt x="303675" y="1356552"/>
                  <a:pt x="0" y="1052877"/>
                  <a:pt x="0" y="678276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35492" tIns="235492" rIns="235492" bIns="235492" numCol="1" spcCol="1270" anchor="ctr" anchorCtr="0">
            <a:noAutofit/>
          </a:bodyPr>
          <a:lstStyle/>
          <a:p>
            <a:pPr lvl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900" kern="1200" dirty="0"/>
          </a:p>
        </p:txBody>
      </p:sp>
      <p:grpSp>
        <p:nvGrpSpPr>
          <p:cNvPr id="215" name="Group 214"/>
          <p:cNvGrpSpPr/>
          <p:nvPr/>
        </p:nvGrpSpPr>
        <p:grpSpPr>
          <a:xfrm>
            <a:off x="9610139" y="3605677"/>
            <a:ext cx="425722" cy="491738"/>
            <a:chOff x="-2595563" y="1117600"/>
            <a:chExt cx="2395538" cy="2767013"/>
          </a:xfrm>
          <a:solidFill>
            <a:schemeClr val="accent4"/>
          </a:solidFill>
        </p:grpSpPr>
        <p:sp>
          <p:nvSpPr>
            <p:cNvPr id="216" name="Freeform 190"/>
            <p:cNvSpPr>
              <a:spLocks noEditPoints="1"/>
            </p:cNvSpPr>
            <p:nvPr/>
          </p:nvSpPr>
          <p:spPr bwMode="auto">
            <a:xfrm>
              <a:off x="-2595563" y="1117600"/>
              <a:ext cx="2395538" cy="2767013"/>
            </a:xfrm>
            <a:custGeom>
              <a:avLst/>
              <a:gdLst>
                <a:gd name="T0" fmla="*/ 130 w 637"/>
                <a:gd name="T1" fmla="*/ 487 h 736"/>
                <a:gd name="T2" fmla="*/ 319 w 637"/>
                <a:gd name="T3" fmla="*/ 403 h 736"/>
                <a:gd name="T4" fmla="*/ 507 w 637"/>
                <a:gd name="T5" fmla="*/ 487 h 736"/>
                <a:gd name="T6" fmla="*/ 589 w 637"/>
                <a:gd name="T7" fmla="*/ 736 h 736"/>
                <a:gd name="T8" fmla="*/ 637 w 637"/>
                <a:gd name="T9" fmla="*/ 736 h 736"/>
                <a:gd name="T10" fmla="*/ 543 w 637"/>
                <a:gd name="T11" fmla="*/ 455 h 736"/>
                <a:gd name="T12" fmla="*/ 417 w 637"/>
                <a:gd name="T13" fmla="*/ 371 h 736"/>
                <a:gd name="T14" fmla="*/ 517 w 637"/>
                <a:gd name="T15" fmla="*/ 198 h 736"/>
                <a:gd name="T16" fmla="*/ 319 w 637"/>
                <a:gd name="T17" fmla="*/ 0 h 736"/>
                <a:gd name="T18" fmla="*/ 121 w 637"/>
                <a:gd name="T19" fmla="*/ 198 h 736"/>
                <a:gd name="T20" fmla="*/ 221 w 637"/>
                <a:gd name="T21" fmla="*/ 371 h 736"/>
                <a:gd name="T22" fmla="*/ 94 w 637"/>
                <a:gd name="T23" fmla="*/ 455 h 736"/>
                <a:gd name="T24" fmla="*/ 0 w 637"/>
                <a:gd name="T25" fmla="*/ 736 h 736"/>
                <a:gd name="T26" fmla="*/ 48 w 637"/>
                <a:gd name="T27" fmla="*/ 736 h 736"/>
                <a:gd name="T28" fmla="*/ 130 w 637"/>
                <a:gd name="T29" fmla="*/ 487 h 736"/>
                <a:gd name="T30" fmla="*/ 169 w 637"/>
                <a:gd name="T31" fmla="*/ 198 h 736"/>
                <a:gd name="T32" fmla="*/ 319 w 637"/>
                <a:gd name="T33" fmla="*/ 48 h 736"/>
                <a:gd name="T34" fmla="*/ 469 w 637"/>
                <a:gd name="T35" fmla="*/ 198 h 736"/>
                <a:gd name="T36" fmla="*/ 319 w 637"/>
                <a:gd name="T37" fmla="*/ 349 h 736"/>
                <a:gd name="T38" fmla="*/ 169 w 637"/>
                <a:gd name="T39" fmla="*/ 198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37" h="736">
                  <a:moveTo>
                    <a:pt x="130" y="487"/>
                  </a:moveTo>
                  <a:cubicBezTo>
                    <a:pt x="179" y="433"/>
                    <a:pt x="245" y="403"/>
                    <a:pt x="319" y="403"/>
                  </a:cubicBezTo>
                  <a:cubicBezTo>
                    <a:pt x="392" y="403"/>
                    <a:pt x="459" y="433"/>
                    <a:pt x="507" y="487"/>
                  </a:cubicBezTo>
                  <a:cubicBezTo>
                    <a:pt x="561" y="547"/>
                    <a:pt x="589" y="633"/>
                    <a:pt x="589" y="736"/>
                  </a:cubicBezTo>
                  <a:cubicBezTo>
                    <a:pt x="637" y="736"/>
                    <a:pt x="637" y="736"/>
                    <a:pt x="637" y="736"/>
                  </a:cubicBezTo>
                  <a:cubicBezTo>
                    <a:pt x="637" y="621"/>
                    <a:pt x="605" y="524"/>
                    <a:pt x="543" y="455"/>
                  </a:cubicBezTo>
                  <a:cubicBezTo>
                    <a:pt x="508" y="415"/>
                    <a:pt x="465" y="387"/>
                    <a:pt x="417" y="371"/>
                  </a:cubicBezTo>
                  <a:cubicBezTo>
                    <a:pt x="477" y="336"/>
                    <a:pt x="517" y="272"/>
                    <a:pt x="517" y="198"/>
                  </a:cubicBezTo>
                  <a:cubicBezTo>
                    <a:pt x="517" y="89"/>
                    <a:pt x="428" y="0"/>
                    <a:pt x="319" y="0"/>
                  </a:cubicBezTo>
                  <a:cubicBezTo>
                    <a:pt x="210" y="0"/>
                    <a:pt x="121" y="89"/>
                    <a:pt x="121" y="198"/>
                  </a:cubicBezTo>
                  <a:cubicBezTo>
                    <a:pt x="121" y="272"/>
                    <a:pt x="161" y="336"/>
                    <a:pt x="221" y="371"/>
                  </a:cubicBezTo>
                  <a:cubicBezTo>
                    <a:pt x="173" y="387"/>
                    <a:pt x="129" y="415"/>
                    <a:pt x="94" y="455"/>
                  </a:cubicBezTo>
                  <a:cubicBezTo>
                    <a:pt x="33" y="524"/>
                    <a:pt x="0" y="621"/>
                    <a:pt x="0" y="736"/>
                  </a:cubicBezTo>
                  <a:cubicBezTo>
                    <a:pt x="48" y="736"/>
                    <a:pt x="48" y="736"/>
                    <a:pt x="48" y="736"/>
                  </a:cubicBezTo>
                  <a:cubicBezTo>
                    <a:pt x="48" y="633"/>
                    <a:pt x="77" y="547"/>
                    <a:pt x="130" y="487"/>
                  </a:cubicBezTo>
                  <a:close/>
                  <a:moveTo>
                    <a:pt x="169" y="198"/>
                  </a:moveTo>
                  <a:cubicBezTo>
                    <a:pt x="169" y="116"/>
                    <a:pt x="236" y="48"/>
                    <a:pt x="319" y="48"/>
                  </a:cubicBezTo>
                  <a:cubicBezTo>
                    <a:pt x="402" y="48"/>
                    <a:pt x="469" y="116"/>
                    <a:pt x="469" y="198"/>
                  </a:cubicBezTo>
                  <a:cubicBezTo>
                    <a:pt x="469" y="281"/>
                    <a:pt x="402" y="349"/>
                    <a:pt x="319" y="349"/>
                  </a:cubicBezTo>
                  <a:cubicBezTo>
                    <a:pt x="236" y="349"/>
                    <a:pt x="169" y="281"/>
                    <a:pt x="169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" name="Freeform 191"/>
            <p:cNvSpPr>
              <a:spLocks noEditPoints="1"/>
            </p:cNvSpPr>
            <p:nvPr/>
          </p:nvSpPr>
          <p:spPr bwMode="auto">
            <a:xfrm>
              <a:off x="-1897063" y="2990850"/>
              <a:ext cx="990600" cy="890588"/>
            </a:xfrm>
            <a:custGeom>
              <a:avLst/>
              <a:gdLst>
                <a:gd name="T0" fmla="*/ 132 w 263"/>
                <a:gd name="T1" fmla="*/ 15 h 237"/>
                <a:gd name="T2" fmla="*/ 83 w 263"/>
                <a:gd name="T3" fmla="*/ 0 h 237"/>
                <a:gd name="T4" fmla="*/ 0 w 263"/>
                <a:gd name="T5" fmla="*/ 82 h 237"/>
                <a:gd name="T6" fmla="*/ 28 w 263"/>
                <a:gd name="T7" fmla="*/ 144 h 237"/>
                <a:gd name="T8" fmla="*/ 114 w 263"/>
                <a:gd name="T9" fmla="*/ 229 h 237"/>
                <a:gd name="T10" fmla="*/ 121 w 263"/>
                <a:gd name="T11" fmla="*/ 237 h 237"/>
                <a:gd name="T12" fmla="*/ 142 w 263"/>
                <a:gd name="T13" fmla="*/ 237 h 237"/>
                <a:gd name="T14" fmla="*/ 234 w 263"/>
                <a:gd name="T15" fmla="*/ 144 h 237"/>
                <a:gd name="T16" fmla="*/ 235 w 263"/>
                <a:gd name="T17" fmla="*/ 144 h 237"/>
                <a:gd name="T18" fmla="*/ 263 w 263"/>
                <a:gd name="T19" fmla="*/ 82 h 237"/>
                <a:gd name="T20" fmla="*/ 180 w 263"/>
                <a:gd name="T21" fmla="*/ 0 h 237"/>
                <a:gd name="T22" fmla="*/ 132 w 263"/>
                <a:gd name="T23" fmla="*/ 15 h 237"/>
                <a:gd name="T24" fmla="*/ 213 w 263"/>
                <a:gd name="T25" fmla="*/ 82 h 237"/>
                <a:gd name="T26" fmla="*/ 199 w 263"/>
                <a:gd name="T27" fmla="*/ 110 h 237"/>
                <a:gd name="T28" fmla="*/ 132 w 263"/>
                <a:gd name="T29" fmla="*/ 177 h 237"/>
                <a:gd name="T30" fmla="*/ 64 w 263"/>
                <a:gd name="T31" fmla="*/ 110 h 237"/>
                <a:gd name="T32" fmla="*/ 50 w 263"/>
                <a:gd name="T33" fmla="*/ 82 h 237"/>
                <a:gd name="T34" fmla="*/ 83 w 263"/>
                <a:gd name="T35" fmla="*/ 49 h 237"/>
                <a:gd name="T36" fmla="*/ 111 w 263"/>
                <a:gd name="T37" fmla="*/ 64 h 237"/>
                <a:gd name="T38" fmla="*/ 118 w 263"/>
                <a:gd name="T39" fmla="*/ 76 h 237"/>
                <a:gd name="T40" fmla="*/ 145 w 263"/>
                <a:gd name="T41" fmla="*/ 76 h 237"/>
                <a:gd name="T42" fmla="*/ 152 w 263"/>
                <a:gd name="T43" fmla="*/ 64 h 237"/>
                <a:gd name="T44" fmla="*/ 180 w 263"/>
                <a:gd name="T45" fmla="*/ 49 h 237"/>
                <a:gd name="T46" fmla="*/ 213 w 263"/>
                <a:gd name="T47" fmla="*/ 82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3" h="237">
                  <a:moveTo>
                    <a:pt x="132" y="15"/>
                  </a:moveTo>
                  <a:cubicBezTo>
                    <a:pt x="118" y="5"/>
                    <a:pt x="101" y="0"/>
                    <a:pt x="83" y="0"/>
                  </a:cubicBezTo>
                  <a:cubicBezTo>
                    <a:pt x="37" y="0"/>
                    <a:pt x="0" y="37"/>
                    <a:pt x="0" y="82"/>
                  </a:cubicBezTo>
                  <a:cubicBezTo>
                    <a:pt x="0" y="103"/>
                    <a:pt x="10" y="124"/>
                    <a:pt x="28" y="144"/>
                  </a:cubicBezTo>
                  <a:cubicBezTo>
                    <a:pt x="114" y="229"/>
                    <a:pt x="114" y="229"/>
                    <a:pt x="114" y="229"/>
                  </a:cubicBezTo>
                  <a:cubicBezTo>
                    <a:pt x="121" y="237"/>
                    <a:pt x="121" y="237"/>
                    <a:pt x="121" y="237"/>
                  </a:cubicBezTo>
                  <a:cubicBezTo>
                    <a:pt x="142" y="237"/>
                    <a:pt x="142" y="237"/>
                    <a:pt x="142" y="237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35" y="144"/>
                    <a:pt x="235" y="144"/>
                    <a:pt x="235" y="144"/>
                  </a:cubicBezTo>
                  <a:cubicBezTo>
                    <a:pt x="254" y="124"/>
                    <a:pt x="263" y="103"/>
                    <a:pt x="263" y="82"/>
                  </a:cubicBezTo>
                  <a:cubicBezTo>
                    <a:pt x="263" y="37"/>
                    <a:pt x="226" y="0"/>
                    <a:pt x="180" y="0"/>
                  </a:cubicBezTo>
                  <a:cubicBezTo>
                    <a:pt x="162" y="0"/>
                    <a:pt x="146" y="5"/>
                    <a:pt x="132" y="15"/>
                  </a:cubicBezTo>
                  <a:close/>
                  <a:moveTo>
                    <a:pt x="213" y="82"/>
                  </a:moveTo>
                  <a:cubicBezTo>
                    <a:pt x="213" y="90"/>
                    <a:pt x="209" y="99"/>
                    <a:pt x="199" y="110"/>
                  </a:cubicBezTo>
                  <a:cubicBezTo>
                    <a:pt x="132" y="177"/>
                    <a:pt x="132" y="177"/>
                    <a:pt x="132" y="177"/>
                  </a:cubicBezTo>
                  <a:cubicBezTo>
                    <a:pt x="64" y="110"/>
                    <a:pt x="64" y="110"/>
                    <a:pt x="64" y="110"/>
                  </a:cubicBezTo>
                  <a:cubicBezTo>
                    <a:pt x="54" y="99"/>
                    <a:pt x="50" y="90"/>
                    <a:pt x="50" y="82"/>
                  </a:cubicBezTo>
                  <a:cubicBezTo>
                    <a:pt x="50" y="64"/>
                    <a:pt x="65" y="49"/>
                    <a:pt x="83" y="49"/>
                  </a:cubicBezTo>
                  <a:cubicBezTo>
                    <a:pt x="94" y="49"/>
                    <a:pt x="105" y="55"/>
                    <a:pt x="111" y="64"/>
                  </a:cubicBezTo>
                  <a:cubicBezTo>
                    <a:pt x="118" y="76"/>
                    <a:pt x="118" y="76"/>
                    <a:pt x="118" y="76"/>
                  </a:cubicBezTo>
                  <a:cubicBezTo>
                    <a:pt x="145" y="76"/>
                    <a:pt x="145" y="76"/>
                    <a:pt x="145" y="76"/>
                  </a:cubicBezTo>
                  <a:cubicBezTo>
                    <a:pt x="152" y="64"/>
                    <a:pt x="152" y="64"/>
                    <a:pt x="152" y="64"/>
                  </a:cubicBezTo>
                  <a:cubicBezTo>
                    <a:pt x="159" y="55"/>
                    <a:pt x="169" y="49"/>
                    <a:pt x="180" y="49"/>
                  </a:cubicBezTo>
                  <a:cubicBezTo>
                    <a:pt x="198" y="49"/>
                    <a:pt x="213" y="64"/>
                    <a:pt x="213" y="82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11066933" y="4245047"/>
            <a:ext cx="392457" cy="540658"/>
            <a:chOff x="-2651126" y="1468438"/>
            <a:chExt cx="2493963" cy="3368675"/>
          </a:xfrm>
          <a:solidFill>
            <a:schemeClr val="accent1"/>
          </a:solidFill>
        </p:grpSpPr>
        <p:sp>
          <p:nvSpPr>
            <p:cNvPr id="74" name="Freeform 160"/>
            <p:cNvSpPr>
              <a:spLocks noEditPoints="1"/>
            </p:cNvSpPr>
            <p:nvPr/>
          </p:nvSpPr>
          <p:spPr bwMode="auto">
            <a:xfrm>
              <a:off x="-2651126" y="1468438"/>
              <a:ext cx="2493963" cy="3368675"/>
            </a:xfrm>
            <a:custGeom>
              <a:avLst/>
              <a:gdLst>
                <a:gd name="T0" fmla="*/ 593 w 663"/>
                <a:gd name="T1" fmla="*/ 0 h 896"/>
                <a:gd name="T2" fmla="*/ 70 w 663"/>
                <a:gd name="T3" fmla="*/ 0 h 896"/>
                <a:gd name="T4" fmla="*/ 0 w 663"/>
                <a:gd name="T5" fmla="*/ 70 h 896"/>
                <a:gd name="T6" fmla="*/ 0 w 663"/>
                <a:gd name="T7" fmla="*/ 826 h 896"/>
                <a:gd name="T8" fmla="*/ 70 w 663"/>
                <a:gd name="T9" fmla="*/ 896 h 896"/>
                <a:gd name="T10" fmla="*/ 593 w 663"/>
                <a:gd name="T11" fmla="*/ 896 h 896"/>
                <a:gd name="T12" fmla="*/ 663 w 663"/>
                <a:gd name="T13" fmla="*/ 826 h 896"/>
                <a:gd name="T14" fmla="*/ 663 w 663"/>
                <a:gd name="T15" fmla="*/ 70 h 896"/>
                <a:gd name="T16" fmla="*/ 593 w 663"/>
                <a:gd name="T17" fmla="*/ 0 h 896"/>
                <a:gd name="T18" fmla="*/ 615 w 663"/>
                <a:gd name="T19" fmla="*/ 826 h 896"/>
                <a:gd name="T20" fmla="*/ 593 w 663"/>
                <a:gd name="T21" fmla="*/ 848 h 896"/>
                <a:gd name="T22" fmla="*/ 70 w 663"/>
                <a:gd name="T23" fmla="*/ 848 h 896"/>
                <a:gd name="T24" fmla="*/ 48 w 663"/>
                <a:gd name="T25" fmla="*/ 826 h 896"/>
                <a:gd name="T26" fmla="*/ 48 w 663"/>
                <a:gd name="T27" fmla="*/ 70 h 896"/>
                <a:gd name="T28" fmla="*/ 70 w 663"/>
                <a:gd name="T29" fmla="*/ 48 h 896"/>
                <a:gd name="T30" fmla="*/ 593 w 663"/>
                <a:gd name="T31" fmla="*/ 48 h 896"/>
                <a:gd name="T32" fmla="*/ 615 w 663"/>
                <a:gd name="T33" fmla="*/ 70 h 896"/>
                <a:gd name="T34" fmla="*/ 615 w 663"/>
                <a:gd name="T35" fmla="*/ 826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3" h="896">
                  <a:moveTo>
                    <a:pt x="593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31" y="0"/>
                    <a:pt x="0" y="31"/>
                    <a:pt x="0" y="70"/>
                  </a:cubicBezTo>
                  <a:cubicBezTo>
                    <a:pt x="0" y="826"/>
                    <a:pt x="0" y="826"/>
                    <a:pt x="0" y="826"/>
                  </a:cubicBezTo>
                  <a:cubicBezTo>
                    <a:pt x="0" y="865"/>
                    <a:pt x="31" y="896"/>
                    <a:pt x="70" y="896"/>
                  </a:cubicBezTo>
                  <a:cubicBezTo>
                    <a:pt x="593" y="896"/>
                    <a:pt x="593" y="896"/>
                    <a:pt x="593" y="896"/>
                  </a:cubicBezTo>
                  <a:cubicBezTo>
                    <a:pt x="632" y="896"/>
                    <a:pt x="663" y="865"/>
                    <a:pt x="663" y="826"/>
                  </a:cubicBezTo>
                  <a:cubicBezTo>
                    <a:pt x="663" y="70"/>
                    <a:pt x="663" y="70"/>
                    <a:pt x="663" y="70"/>
                  </a:cubicBezTo>
                  <a:cubicBezTo>
                    <a:pt x="663" y="31"/>
                    <a:pt x="632" y="0"/>
                    <a:pt x="593" y="0"/>
                  </a:cubicBezTo>
                  <a:close/>
                  <a:moveTo>
                    <a:pt x="615" y="826"/>
                  </a:moveTo>
                  <a:cubicBezTo>
                    <a:pt x="615" y="838"/>
                    <a:pt x="605" y="848"/>
                    <a:pt x="593" y="848"/>
                  </a:cubicBezTo>
                  <a:cubicBezTo>
                    <a:pt x="70" y="848"/>
                    <a:pt x="70" y="848"/>
                    <a:pt x="70" y="848"/>
                  </a:cubicBezTo>
                  <a:cubicBezTo>
                    <a:pt x="58" y="848"/>
                    <a:pt x="48" y="838"/>
                    <a:pt x="48" y="826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58"/>
                    <a:pt x="58" y="48"/>
                    <a:pt x="70" y="48"/>
                  </a:cubicBezTo>
                  <a:cubicBezTo>
                    <a:pt x="593" y="48"/>
                    <a:pt x="593" y="48"/>
                    <a:pt x="593" y="48"/>
                  </a:cubicBezTo>
                  <a:cubicBezTo>
                    <a:pt x="605" y="48"/>
                    <a:pt x="615" y="58"/>
                    <a:pt x="615" y="70"/>
                  </a:cubicBezTo>
                  <a:lnTo>
                    <a:pt x="615" y="8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161"/>
            <p:cNvSpPr>
              <a:spLocks/>
            </p:cNvSpPr>
            <p:nvPr/>
          </p:nvSpPr>
          <p:spPr bwMode="auto">
            <a:xfrm>
              <a:off x="-1657351" y="4294188"/>
              <a:ext cx="508000" cy="180975"/>
            </a:xfrm>
            <a:custGeom>
              <a:avLst/>
              <a:gdLst>
                <a:gd name="T0" fmla="*/ 111 w 135"/>
                <a:gd name="T1" fmla="*/ 0 h 48"/>
                <a:gd name="T2" fmla="*/ 24 w 135"/>
                <a:gd name="T3" fmla="*/ 0 h 48"/>
                <a:gd name="T4" fmla="*/ 0 w 135"/>
                <a:gd name="T5" fmla="*/ 24 h 48"/>
                <a:gd name="T6" fmla="*/ 24 w 135"/>
                <a:gd name="T7" fmla="*/ 48 h 48"/>
                <a:gd name="T8" fmla="*/ 111 w 135"/>
                <a:gd name="T9" fmla="*/ 48 h 48"/>
                <a:gd name="T10" fmla="*/ 135 w 135"/>
                <a:gd name="T11" fmla="*/ 24 h 48"/>
                <a:gd name="T12" fmla="*/ 111 w 13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48">
                  <a:moveTo>
                    <a:pt x="111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24" y="48"/>
                    <a:pt x="135" y="37"/>
                    <a:pt x="135" y="24"/>
                  </a:cubicBezTo>
                  <a:cubicBezTo>
                    <a:pt x="135" y="11"/>
                    <a:pt x="124" y="0"/>
                    <a:pt x="1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162"/>
            <p:cNvSpPr>
              <a:spLocks noEditPoints="1"/>
            </p:cNvSpPr>
            <p:nvPr/>
          </p:nvSpPr>
          <p:spPr bwMode="auto">
            <a:xfrm>
              <a:off x="-2270126" y="1851026"/>
              <a:ext cx="1733550" cy="2263775"/>
            </a:xfrm>
            <a:custGeom>
              <a:avLst/>
              <a:gdLst>
                <a:gd name="T0" fmla="*/ 0 w 461"/>
                <a:gd name="T1" fmla="*/ 602 h 602"/>
                <a:gd name="T2" fmla="*/ 461 w 461"/>
                <a:gd name="T3" fmla="*/ 602 h 602"/>
                <a:gd name="T4" fmla="*/ 461 w 461"/>
                <a:gd name="T5" fmla="*/ 0 h 602"/>
                <a:gd name="T6" fmla="*/ 0 w 461"/>
                <a:gd name="T7" fmla="*/ 0 h 602"/>
                <a:gd name="T8" fmla="*/ 0 w 461"/>
                <a:gd name="T9" fmla="*/ 602 h 602"/>
                <a:gd name="T10" fmla="*/ 48 w 461"/>
                <a:gd name="T11" fmla="*/ 554 h 602"/>
                <a:gd name="T12" fmla="*/ 48 w 461"/>
                <a:gd name="T13" fmla="*/ 330 h 602"/>
                <a:gd name="T14" fmla="*/ 151 w 461"/>
                <a:gd name="T15" fmla="*/ 330 h 602"/>
                <a:gd name="T16" fmla="*/ 174 w 461"/>
                <a:gd name="T17" fmla="*/ 312 h 602"/>
                <a:gd name="T18" fmla="*/ 192 w 461"/>
                <a:gd name="T19" fmla="*/ 237 h 602"/>
                <a:gd name="T20" fmla="*/ 252 w 461"/>
                <a:gd name="T21" fmla="*/ 479 h 602"/>
                <a:gd name="T22" fmla="*/ 275 w 461"/>
                <a:gd name="T23" fmla="*/ 497 h 602"/>
                <a:gd name="T24" fmla="*/ 275 w 461"/>
                <a:gd name="T25" fmla="*/ 497 h 602"/>
                <a:gd name="T26" fmla="*/ 298 w 461"/>
                <a:gd name="T27" fmla="*/ 479 h 602"/>
                <a:gd name="T28" fmla="*/ 337 w 461"/>
                <a:gd name="T29" fmla="*/ 328 h 602"/>
                <a:gd name="T30" fmla="*/ 413 w 461"/>
                <a:gd name="T31" fmla="*/ 328 h 602"/>
                <a:gd name="T32" fmla="*/ 413 w 461"/>
                <a:gd name="T33" fmla="*/ 554 h 602"/>
                <a:gd name="T34" fmla="*/ 48 w 461"/>
                <a:gd name="T35" fmla="*/ 554 h 602"/>
                <a:gd name="T36" fmla="*/ 413 w 461"/>
                <a:gd name="T37" fmla="*/ 48 h 602"/>
                <a:gd name="T38" fmla="*/ 413 w 461"/>
                <a:gd name="T39" fmla="*/ 280 h 602"/>
                <a:gd name="T40" fmla="*/ 318 w 461"/>
                <a:gd name="T41" fmla="*/ 280 h 602"/>
                <a:gd name="T42" fmla="*/ 295 w 461"/>
                <a:gd name="T43" fmla="*/ 298 h 602"/>
                <a:gd name="T44" fmla="*/ 275 w 461"/>
                <a:gd name="T45" fmla="*/ 374 h 602"/>
                <a:gd name="T46" fmla="*/ 215 w 461"/>
                <a:gd name="T47" fmla="*/ 129 h 602"/>
                <a:gd name="T48" fmla="*/ 192 w 461"/>
                <a:gd name="T49" fmla="*/ 110 h 602"/>
                <a:gd name="T50" fmla="*/ 191 w 461"/>
                <a:gd name="T51" fmla="*/ 110 h 602"/>
                <a:gd name="T52" fmla="*/ 168 w 461"/>
                <a:gd name="T53" fmla="*/ 129 h 602"/>
                <a:gd name="T54" fmla="*/ 132 w 461"/>
                <a:gd name="T55" fmla="*/ 282 h 602"/>
                <a:gd name="T56" fmla="*/ 48 w 461"/>
                <a:gd name="T57" fmla="*/ 282 h 602"/>
                <a:gd name="T58" fmla="*/ 48 w 461"/>
                <a:gd name="T59" fmla="*/ 48 h 602"/>
                <a:gd name="T60" fmla="*/ 413 w 461"/>
                <a:gd name="T61" fmla="*/ 48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61" h="602">
                  <a:moveTo>
                    <a:pt x="0" y="602"/>
                  </a:moveTo>
                  <a:cubicBezTo>
                    <a:pt x="461" y="602"/>
                    <a:pt x="461" y="602"/>
                    <a:pt x="461" y="602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02"/>
                  </a:lnTo>
                  <a:close/>
                  <a:moveTo>
                    <a:pt x="48" y="554"/>
                  </a:moveTo>
                  <a:cubicBezTo>
                    <a:pt x="48" y="330"/>
                    <a:pt x="48" y="330"/>
                    <a:pt x="48" y="330"/>
                  </a:cubicBezTo>
                  <a:cubicBezTo>
                    <a:pt x="151" y="330"/>
                    <a:pt x="151" y="330"/>
                    <a:pt x="151" y="330"/>
                  </a:cubicBezTo>
                  <a:cubicBezTo>
                    <a:pt x="162" y="330"/>
                    <a:pt x="172" y="323"/>
                    <a:pt x="174" y="312"/>
                  </a:cubicBezTo>
                  <a:cubicBezTo>
                    <a:pt x="192" y="237"/>
                    <a:pt x="192" y="237"/>
                    <a:pt x="192" y="237"/>
                  </a:cubicBezTo>
                  <a:cubicBezTo>
                    <a:pt x="252" y="479"/>
                    <a:pt x="252" y="479"/>
                    <a:pt x="252" y="479"/>
                  </a:cubicBezTo>
                  <a:cubicBezTo>
                    <a:pt x="254" y="490"/>
                    <a:pt x="264" y="497"/>
                    <a:pt x="275" y="497"/>
                  </a:cubicBezTo>
                  <a:cubicBezTo>
                    <a:pt x="275" y="497"/>
                    <a:pt x="275" y="497"/>
                    <a:pt x="275" y="497"/>
                  </a:cubicBezTo>
                  <a:cubicBezTo>
                    <a:pt x="286" y="497"/>
                    <a:pt x="296" y="490"/>
                    <a:pt x="298" y="479"/>
                  </a:cubicBezTo>
                  <a:cubicBezTo>
                    <a:pt x="337" y="328"/>
                    <a:pt x="337" y="328"/>
                    <a:pt x="337" y="328"/>
                  </a:cubicBezTo>
                  <a:cubicBezTo>
                    <a:pt x="413" y="328"/>
                    <a:pt x="413" y="328"/>
                    <a:pt x="413" y="328"/>
                  </a:cubicBezTo>
                  <a:cubicBezTo>
                    <a:pt x="413" y="554"/>
                    <a:pt x="413" y="554"/>
                    <a:pt x="413" y="554"/>
                  </a:cubicBezTo>
                  <a:lnTo>
                    <a:pt x="48" y="554"/>
                  </a:lnTo>
                  <a:close/>
                  <a:moveTo>
                    <a:pt x="413" y="48"/>
                  </a:moveTo>
                  <a:cubicBezTo>
                    <a:pt x="413" y="280"/>
                    <a:pt x="413" y="280"/>
                    <a:pt x="413" y="280"/>
                  </a:cubicBezTo>
                  <a:cubicBezTo>
                    <a:pt x="318" y="280"/>
                    <a:pt x="318" y="280"/>
                    <a:pt x="318" y="280"/>
                  </a:cubicBezTo>
                  <a:cubicBezTo>
                    <a:pt x="307" y="280"/>
                    <a:pt x="297" y="287"/>
                    <a:pt x="295" y="298"/>
                  </a:cubicBezTo>
                  <a:cubicBezTo>
                    <a:pt x="275" y="374"/>
                    <a:pt x="275" y="374"/>
                    <a:pt x="275" y="374"/>
                  </a:cubicBezTo>
                  <a:cubicBezTo>
                    <a:pt x="215" y="129"/>
                    <a:pt x="215" y="129"/>
                    <a:pt x="215" y="129"/>
                  </a:cubicBezTo>
                  <a:cubicBezTo>
                    <a:pt x="212" y="118"/>
                    <a:pt x="203" y="110"/>
                    <a:pt x="192" y="110"/>
                  </a:cubicBezTo>
                  <a:cubicBezTo>
                    <a:pt x="191" y="110"/>
                    <a:pt x="191" y="110"/>
                    <a:pt x="191" y="110"/>
                  </a:cubicBezTo>
                  <a:cubicBezTo>
                    <a:pt x="180" y="110"/>
                    <a:pt x="171" y="118"/>
                    <a:pt x="168" y="129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48" y="282"/>
                    <a:pt x="48" y="282"/>
                    <a:pt x="48" y="282"/>
                  </a:cubicBezTo>
                  <a:cubicBezTo>
                    <a:pt x="48" y="48"/>
                    <a:pt x="48" y="48"/>
                    <a:pt x="48" y="48"/>
                  </a:cubicBezTo>
                  <a:lnTo>
                    <a:pt x="413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8059144" y="2713735"/>
            <a:ext cx="515295" cy="501367"/>
            <a:chOff x="-3624263" y="1349376"/>
            <a:chExt cx="3492500" cy="3656013"/>
          </a:xfrm>
          <a:solidFill>
            <a:schemeClr val="accent2"/>
          </a:solidFill>
        </p:grpSpPr>
        <p:sp>
          <p:nvSpPr>
            <p:cNvPr id="78" name="Freeform 77"/>
            <p:cNvSpPr>
              <a:spLocks noEditPoints="1"/>
            </p:cNvSpPr>
            <p:nvPr/>
          </p:nvSpPr>
          <p:spPr bwMode="auto">
            <a:xfrm>
              <a:off x="-3624263" y="2782888"/>
              <a:ext cx="1931988" cy="2206625"/>
            </a:xfrm>
            <a:custGeom>
              <a:avLst/>
              <a:gdLst>
                <a:gd name="T0" fmla="*/ 257 w 514"/>
                <a:gd name="T1" fmla="*/ 328 h 587"/>
                <a:gd name="T2" fmla="*/ 466 w 514"/>
                <a:gd name="T3" fmla="*/ 587 h 587"/>
                <a:gd name="T4" fmla="*/ 514 w 514"/>
                <a:gd name="T5" fmla="*/ 587 h 587"/>
                <a:gd name="T6" fmla="*/ 438 w 514"/>
                <a:gd name="T7" fmla="*/ 361 h 587"/>
                <a:gd name="T8" fmla="*/ 346 w 514"/>
                <a:gd name="T9" fmla="*/ 297 h 587"/>
                <a:gd name="T10" fmla="*/ 418 w 514"/>
                <a:gd name="T11" fmla="*/ 162 h 587"/>
                <a:gd name="T12" fmla="*/ 257 w 514"/>
                <a:gd name="T13" fmla="*/ 0 h 587"/>
                <a:gd name="T14" fmla="*/ 95 w 514"/>
                <a:gd name="T15" fmla="*/ 162 h 587"/>
                <a:gd name="T16" fmla="*/ 168 w 514"/>
                <a:gd name="T17" fmla="*/ 297 h 587"/>
                <a:gd name="T18" fmla="*/ 76 w 514"/>
                <a:gd name="T19" fmla="*/ 361 h 587"/>
                <a:gd name="T20" fmla="*/ 0 w 514"/>
                <a:gd name="T21" fmla="*/ 587 h 587"/>
                <a:gd name="T22" fmla="*/ 48 w 514"/>
                <a:gd name="T23" fmla="*/ 587 h 587"/>
                <a:gd name="T24" fmla="*/ 257 w 514"/>
                <a:gd name="T25" fmla="*/ 328 h 587"/>
                <a:gd name="T26" fmla="*/ 257 w 514"/>
                <a:gd name="T27" fmla="*/ 48 h 587"/>
                <a:gd name="T28" fmla="*/ 370 w 514"/>
                <a:gd name="T29" fmla="*/ 162 h 587"/>
                <a:gd name="T30" fmla="*/ 257 w 514"/>
                <a:gd name="T31" fmla="*/ 275 h 587"/>
                <a:gd name="T32" fmla="*/ 143 w 514"/>
                <a:gd name="T33" fmla="*/ 162 h 587"/>
                <a:gd name="T34" fmla="*/ 257 w 514"/>
                <a:gd name="T35" fmla="*/ 48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4" h="587">
                  <a:moveTo>
                    <a:pt x="257" y="328"/>
                  </a:moveTo>
                  <a:cubicBezTo>
                    <a:pt x="361" y="328"/>
                    <a:pt x="466" y="408"/>
                    <a:pt x="466" y="587"/>
                  </a:cubicBezTo>
                  <a:cubicBezTo>
                    <a:pt x="514" y="587"/>
                    <a:pt x="514" y="587"/>
                    <a:pt x="514" y="587"/>
                  </a:cubicBezTo>
                  <a:cubicBezTo>
                    <a:pt x="514" y="495"/>
                    <a:pt x="487" y="417"/>
                    <a:pt x="438" y="361"/>
                  </a:cubicBezTo>
                  <a:cubicBezTo>
                    <a:pt x="412" y="332"/>
                    <a:pt x="381" y="310"/>
                    <a:pt x="346" y="297"/>
                  </a:cubicBezTo>
                  <a:cubicBezTo>
                    <a:pt x="389" y="268"/>
                    <a:pt x="418" y="218"/>
                    <a:pt x="418" y="162"/>
                  </a:cubicBezTo>
                  <a:cubicBezTo>
                    <a:pt x="418" y="73"/>
                    <a:pt x="346" y="0"/>
                    <a:pt x="257" y="0"/>
                  </a:cubicBezTo>
                  <a:cubicBezTo>
                    <a:pt x="168" y="0"/>
                    <a:pt x="95" y="73"/>
                    <a:pt x="95" y="162"/>
                  </a:cubicBezTo>
                  <a:cubicBezTo>
                    <a:pt x="95" y="218"/>
                    <a:pt x="124" y="268"/>
                    <a:pt x="168" y="297"/>
                  </a:cubicBezTo>
                  <a:cubicBezTo>
                    <a:pt x="133" y="310"/>
                    <a:pt x="101" y="332"/>
                    <a:pt x="76" y="361"/>
                  </a:cubicBezTo>
                  <a:cubicBezTo>
                    <a:pt x="26" y="417"/>
                    <a:pt x="0" y="495"/>
                    <a:pt x="0" y="587"/>
                  </a:cubicBezTo>
                  <a:cubicBezTo>
                    <a:pt x="48" y="587"/>
                    <a:pt x="48" y="587"/>
                    <a:pt x="48" y="587"/>
                  </a:cubicBezTo>
                  <a:cubicBezTo>
                    <a:pt x="48" y="408"/>
                    <a:pt x="153" y="328"/>
                    <a:pt x="257" y="328"/>
                  </a:cubicBezTo>
                  <a:close/>
                  <a:moveTo>
                    <a:pt x="257" y="48"/>
                  </a:moveTo>
                  <a:cubicBezTo>
                    <a:pt x="319" y="48"/>
                    <a:pt x="370" y="99"/>
                    <a:pt x="370" y="162"/>
                  </a:cubicBezTo>
                  <a:cubicBezTo>
                    <a:pt x="370" y="224"/>
                    <a:pt x="319" y="275"/>
                    <a:pt x="257" y="275"/>
                  </a:cubicBezTo>
                  <a:cubicBezTo>
                    <a:pt x="194" y="275"/>
                    <a:pt x="143" y="224"/>
                    <a:pt x="143" y="162"/>
                  </a:cubicBezTo>
                  <a:cubicBezTo>
                    <a:pt x="143" y="99"/>
                    <a:pt x="194" y="48"/>
                    <a:pt x="25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78"/>
            <p:cNvSpPr>
              <a:spLocks noEditPoints="1"/>
            </p:cNvSpPr>
            <p:nvPr/>
          </p:nvSpPr>
          <p:spPr bwMode="auto">
            <a:xfrm>
              <a:off x="-3071813" y="4260851"/>
              <a:ext cx="819150" cy="744538"/>
            </a:xfrm>
            <a:custGeom>
              <a:avLst/>
              <a:gdLst>
                <a:gd name="T0" fmla="*/ 109 w 218"/>
                <a:gd name="T1" fmla="*/ 11 h 198"/>
                <a:gd name="T2" fmla="*/ 70 w 218"/>
                <a:gd name="T3" fmla="*/ 0 h 198"/>
                <a:gd name="T4" fmla="*/ 0 w 218"/>
                <a:gd name="T5" fmla="*/ 70 h 198"/>
                <a:gd name="T6" fmla="*/ 23 w 218"/>
                <a:gd name="T7" fmla="*/ 123 h 198"/>
                <a:gd name="T8" fmla="*/ 91 w 218"/>
                <a:gd name="T9" fmla="*/ 191 h 198"/>
                <a:gd name="T10" fmla="*/ 99 w 218"/>
                <a:gd name="T11" fmla="*/ 198 h 198"/>
                <a:gd name="T12" fmla="*/ 119 w 218"/>
                <a:gd name="T13" fmla="*/ 198 h 198"/>
                <a:gd name="T14" fmla="*/ 194 w 218"/>
                <a:gd name="T15" fmla="*/ 123 h 198"/>
                <a:gd name="T16" fmla="*/ 194 w 218"/>
                <a:gd name="T17" fmla="*/ 123 h 198"/>
                <a:gd name="T18" fmla="*/ 218 w 218"/>
                <a:gd name="T19" fmla="*/ 70 h 198"/>
                <a:gd name="T20" fmla="*/ 147 w 218"/>
                <a:gd name="T21" fmla="*/ 0 h 198"/>
                <a:gd name="T22" fmla="*/ 109 w 218"/>
                <a:gd name="T23" fmla="*/ 11 h 198"/>
                <a:gd name="T24" fmla="*/ 168 w 218"/>
                <a:gd name="T25" fmla="*/ 70 h 198"/>
                <a:gd name="T26" fmla="*/ 158 w 218"/>
                <a:gd name="T27" fmla="*/ 89 h 198"/>
                <a:gd name="T28" fmla="*/ 109 w 218"/>
                <a:gd name="T29" fmla="*/ 138 h 198"/>
                <a:gd name="T30" fmla="*/ 59 w 218"/>
                <a:gd name="T31" fmla="*/ 89 h 198"/>
                <a:gd name="T32" fmla="*/ 49 w 218"/>
                <a:gd name="T33" fmla="*/ 70 h 198"/>
                <a:gd name="T34" fmla="*/ 70 w 218"/>
                <a:gd name="T35" fmla="*/ 49 h 198"/>
                <a:gd name="T36" fmla="*/ 88 w 218"/>
                <a:gd name="T37" fmla="*/ 59 h 198"/>
                <a:gd name="T38" fmla="*/ 95 w 218"/>
                <a:gd name="T39" fmla="*/ 70 h 198"/>
                <a:gd name="T40" fmla="*/ 122 w 218"/>
                <a:gd name="T41" fmla="*/ 70 h 198"/>
                <a:gd name="T42" fmla="*/ 129 w 218"/>
                <a:gd name="T43" fmla="*/ 59 h 198"/>
                <a:gd name="T44" fmla="*/ 147 w 218"/>
                <a:gd name="T45" fmla="*/ 49 h 198"/>
                <a:gd name="T46" fmla="*/ 168 w 218"/>
                <a:gd name="T47" fmla="*/ 7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8" h="198">
                  <a:moveTo>
                    <a:pt x="109" y="11"/>
                  </a:moveTo>
                  <a:cubicBezTo>
                    <a:pt x="97" y="4"/>
                    <a:pt x="84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89"/>
                    <a:pt x="7" y="106"/>
                    <a:pt x="23" y="123"/>
                  </a:cubicBezTo>
                  <a:cubicBezTo>
                    <a:pt x="91" y="191"/>
                    <a:pt x="91" y="191"/>
                    <a:pt x="91" y="191"/>
                  </a:cubicBezTo>
                  <a:cubicBezTo>
                    <a:pt x="99" y="198"/>
                    <a:pt x="99" y="198"/>
                    <a:pt x="99" y="198"/>
                  </a:cubicBezTo>
                  <a:cubicBezTo>
                    <a:pt x="119" y="198"/>
                    <a:pt x="119" y="198"/>
                    <a:pt x="119" y="198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210" y="106"/>
                    <a:pt x="218" y="89"/>
                    <a:pt x="218" y="70"/>
                  </a:cubicBezTo>
                  <a:cubicBezTo>
                    <a:pt x="218" y="32"/>
                    <a:pt x="186" y="0"/>
                    <a:pt x="147" y="0"/>
                  </a:cubicBezTo>
                  <a:cubicBezTo>
                    <a:pt x="133" y="0"/>
                    <a:pt x="120" y="4"/>
                    <a:pt x="109" y="11"/>
                  </a:cubicBezTo>
                  <a:close/>
                  <a:moveTo>
                    <a:pt x="168" y="70"/>
                  </a:moveTo>
                  <a:cubicBezTo>
                    <a:pt x="168" y="74"/>
                    <a:pt x="167" y="79"/>
                    <a:pt x="158" y="89"/>
                  </a:cubicBezTo>
                  <a:cubicBezTo>
                    <a:pt x="109" y="138"/>
                    <a:pt x="109" y="138"/>
                    <a:pt x="109" y="138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0" y="79"/>
                    <a:pt x="49" y="74"/>
                    <a:pt x="49" y="70"/>
                  </a:cubicBezTo>
                  <a:cubicBezTo>
                    <a:pt x="49" y="59"/>
                    <a:pt x="59" y="49"/>
                    <a:pt x="70" y="49"/>
                  </a:cubicBezTo>
                  <a:cubicBezTo>
                    <a:pt x="77" y="49"/>
                    <a:pt x="84" y="53"/>
                    <a:pt x="88" y="59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33" y="53"/>
                    <a:pt x="140" y="49"/>
                    <a:pt x="147" y="49"/>
                  </a:cubicBezTo>
                  <a:cubicBezTo>
                    <a:pt x="159" y="49"/>
                    <a:pt x="168" y="59"/>
                    <a:pt x="16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auto">
            <a:xfrm>
              <a:off x="-1541463" y="3478213"/>
              <a:ext cx="511175" cy="180975"/>
            </a:xfrm>
            <a:custGeom>
              <a:avLst/>
              <a:gdLst>
                <a:gd name="T0" fmla="*/ 136 w 136"/>
                <a:gd name="T1" fmla="*/ 24 h 48"/>
                <a:gd name="T2" fmla="*/ 112 w 136"/>
                <a:gd name="T3" fmla="*/ 0 h 48"/>
                <a:gd name="T4" fmla="*/ 24 w 136"/>
                <a:gd name="T5" fmla="*/ 0 h 48"/>
                <a:gd name="T6" fmla="*/ 0 w 136"/>
                <a:gd name="T7" fmla="*/ 24 h 48"/>
                <a:gd name="T8" fmla="*/ 24 w 136"/>
                <a:gd name="T9" fmla="*/ 48 h 48"/>
                <a:gd name="T10" fmla="*/ 112 w 136"/>
                <a:gd name="T11" fmla="*/ 48 h 48"/>
                <a:gd name="T12" fmla="*/ 136 w 136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48">
                  <a:moveTo>
                    <a:pt x="136" y="24"/>
                  </a:moveTo>
                  <a:cubicBezTo>
                    <a:pt x="136" y="11"/>
                    <a:pt x="125" y="0"/>
                    <a:pt x="1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25" y="48"/>
                    <a:pt x="136" y="37"/>
                    <a:pt x="13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auto">
            <a:xfrm>
              <a:off x="-1495425" y="3790951"/>
              <a:ext cx="417513" cy="179388"/>
            </a:xfrm>
            <a:custGeom>
              <a:avLst/>
              <a:gdLst>
                <a:gd name="T0" fmla="*/ 24 w 111"/>
                <a:gd name="T1" fmla="*/ 0 h 48"/>
                <a:gd name="T2" fmla="*/ 0 w 111"/>
                <a:gd name="T3" fmla="*/ 24 h 48"/>
                <a:gd name="T4" fmla="*/ 24 w 111"/>
                <a:gd name="T5" fmla="*/ 48 h 48"/>
                <a:gd name="T6" fmla="*/ 87 w 111"/>
                <a:gd name="T7" fmla="*/ 48 h 48"/>
                <a:gd name="T8" fmla="*/ 111 w 111"/>
                <a:gd name="T9" fmla="*/ 24 h 48"/>
                <a:gd name="T10" fmla="*/ 87 w 111"/>
                <a:gd name="T11" fmla="*/ 0 h 48"/>
                <a:gd name="T12" fmla="*/ 24 w 11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48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101" y="48"/>
                    <a:pt x="111" y="37"/>
                    <a:pt x="111" y="24"/>
                  </a:cubicBezTo>
                  <a:cubicBezTo>
                    <a:pt x="111" y="11"/>
                    <a:pt x="101" y="0"/>
                    <a:pt x="87" y="0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10"/>
            <p:cNvSpPr>
              <a:spLocks noEditPoints="1"/>
            </p:cNvSpPr>
            <p:nvPr/>
          </p:nvSpPr>
          <p:spPr bwMode="auto">
            <a:xfrm>
              <a:off x="-1827213" y="1876426"/>
              <a:ext cx="1079500" cy="1455738"/>
            </a:xfrm>
            <a:custGeom>
              <a:avLst/>
              <a:gdLst>
                <a:gd name="T0" fmla="*/ 144 w 287"/>
                <a:gd name="T1" fmla="*/ 0 h 387"/>
                <a:gd name="T2" fmla="*/ 0 w 287"/>
                <a:gd name="T3" fmla="*/ 143 h 387"/>
                <a:gd name="T4" fmla="*/ 26 w 287"/>
                <a:gd name="T5" fmla="*/ 226 h 387"/>
                <a:gd name="T6" fmla="*/ 48 w 287"/>
                <a:gd name="T7" fmla="*/ 280 h 387"/>
                <a:gd name="T8" fmla="*/ 53 w 287"/>
                <a:gd name="T9" fmla="*/ 331 h 387"/>
                <a:gd name="T10" fmla="*/ 109 w 287"/>
                <a:gd name="T11" fmla="*/ 387 h 387"/>
                <a:gd name="T12" fmla="*/ 178 w 287"/>
                <a:gd name="T13" fmla="*/ 387 h 387"/>
                <a:gd name="T14" fmla="*/ 235 w 287"/>
                <a:gd name="T15" fmla="*/ 331 h 387"/>
                <a:gd name="T16" fmla="*/ 239 w 287"/>
                <a:gd name="T17" fmla="*/ 280 h 387"/>
                <a:gd name="T18" fmla="*/ 261 w 287"/>
                <a:gd name="T19" fmla="*/ 226 h 387"/>
                <a:gd name="T20" fmla="*/ 287 w 287"/>
                <a:gd name="T21" fmla="*/ 143 h 387"/>
                <a:gd name="T22" fmla="*/ 144 w 287"/>
                <a:gd name="T23" fmla="*/ 0 h 387"/>
                <a:gd name="T24" fmla="*/ 218 w 287"/>
                <a:gd name="T25" fmla="*/ 206 h 387"/>
                <a:gd name="T26" fmla="*/ 193 w 287"/>
                <a:gd name="T27" fmla="*/ 266 h 387"/>
                <a:gd name="T28" fmla="*/ 187 w 287"/>
                <a:gd name="T29" fmla="*/ 330 h 387"/>
                <a:gd name="T30" fmla="*/ 187 w 287"/>
                <a:gd name="T31" fmla="*/ 331 h 387"/>
                <a:gd name="T32" fmla="*/ 178 w 287"/>
                <a:gd name="T33" fmla="*/ 339 h 387"/>
                <a:gd name="T34" fmla="*/ 109 w 287"/>
                <a:gd name="T35" fmla="*/ 339 h 387"/>
                <a:gd name="T36" fmla="*/ 101 w 287"/>
                <a:gd name="T37" fmla="*/ 331 h 387"/>
                <a:gd name="T38" fmla="*/ 101 w 287"/>
                <a:gd name="T39" fmla="*/ 330 h 387"/>
                <a:gd name="T40" fmla="*/ 94 w 287"/>
                <a:gd name="T41" fmla="*/ 266 h 387"/>
                <a:gd name="T42" fmla="*/ 70 w 287"/>
                <a:gd name="T43" fmla="*/ 206 h 387"/>
                <a:gd name="T44" fmla="*/ 48 w 287"/>
                <a:gd name="T45" fmla="*/ 143 h 387"/>
                <a:gd name="T46" fmla="*/ 144 w 287"/>
                <a:gd name="T47" fmla="*/ 48 h 387"/>
                <a:gd name="T48" fmla="*/ 239 w 287"/>
                <a:gd name="T49" fmla="*/ 143 h 387"/>
                <a:gd name="T50" fmla="*/ 218 w 287"/>
                <a:gd name="T51" fmla="*/ 20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7" h="387">
                  <a:moveTo>
                    <a:pt x="144" y="0"/>
                  </a:moveTo>
                  <a:cubicBezTo>
                    <a:pt x="65" y="0"/>
                    <a:pt x="0" y="64"/>
                    <a:pt x="0" y="143"/>
                  </a:cubicBezTo>
                  <a:cubicBezTo>
                    <a:pt x="0" y="172"/>
                    <a:pt x="13" y="198"/>
                    <a:pt x="26" y="226"/>
                  </a:cubicBezTo>
                  <a:cubicBezTo>
                    <a:pt x="34" y="244"/>
                    <a:pt x="43" y="261"/>
                    <a:pt x="48" y="280"/>
                  </a:cubicBezTo>
                  <a:cubicBezTo>
                    <a:pt x="50" y="286"/>
                    <a:pt x="52" y="311"/>
                    <a:pt x="53" y="331"/>
                  </a:cubicBezTo>
                  <a:cubicBezTo>
                    <a:pt x="53" y="362"/>
                    <a:pt x="78" y="387"/>
                    <a:pt x="109" y="387"/>
                  </a:cubicBezTo>
                  <a:cubicBezTo>
                    <a:pt x="178" y="387"/>
                    <a:pt x="178" y="387"/>
                    <a:pt x="178" y="387"/>
                  </a:cubicBezTo>
                  <a:cubicBezTo>
                    <a:pt x="209" y="387"/>
                    <a:pt x="235" y="362"/>
                    <a:pt x="235" y="331"/>
                  </a:cubicBezTo>
                  <a:cubicBezTo>
                    <a:pt x="235" y="311"/>
                    <a:pt x="237" y="286"/>
                    <a:pt x="239" y="280"/>
                  </a:cubicBezTo>
                  <a:cubicBezTo>
                    <a:pt x="245" y="261"/>
                    <a:pt x="253" y="244"/>
                    <a:pt x="261" y="226"/>
                  </a:cubicBezTo>
                  <a:cubicBezTo>
                    <a:pt x="275" y="198"/>
                    <a:pt x="287" y="172"/>
                    <a:pt x="287" y="143"/>
                  </a:cubicBezTo>
                  <a:cubicBezTo>
                    <a:pt x="287" y="64"/>
                    <a:pt x="223" y="0"/>
                    <a:pt x="144" y="0"/>
                  </a:cubicBezTo>
                  <a:close/>
                  <a:moveTo>
                    <a:pt x="218" y="206"/>
                  </a:moveTo>
                  <a:cubicBezTo>
                    <a:pt x="209" y="224"/>
                    <a:pt x="200" y="244"/>
                    <a:pt x="193" y="266"/>
                  </a:cubicBezTo>
                  <a:cubicBezTo>
                    <a:pt x="189" y="281"/>
                    <a:pt x="187" y="319"/>
                    <a:pt x="187" y="330"/>
                  </a:cubicBezTo>
                  <a:cubicBezTo>
                    <a:pt x="187" y="330"/>
                    <a:pt x="187" y="330"/>
                    <a:pt x="187" y="331"/>
                  </a:cubicBezTo>
                  <a:cubicBezTo>
                    <a:pt x="187" y="335"/>
                    <a:pt x="183" y="339"/>
                    <a:pt x="178" y="339"/>
                  </a:cubicBezTo>
                  <a:cubicBezTo>
                    <a:pt x="109" y="339"/>
                    <a:pt x="109" y="339"/>
                    <a:pt x="109" y="339"/>
                  </a:cubicBezTo>
                  <a:cubicBezTo>
                    <a:pt x="105" y="339"/>
                    <a:pt x="101" y="335"/>
                    <a:pt x="101" y="331"/>
                  </a:cubicBezTo>
                  <a:cubicBezTo>
                    <a:pt x="101" y="330"/>
                    <a:pt x="101" y="330"/>
                    <a:pt x="101" y="330"/>
                  </a:cubicBezTo>
                  <a:cubicBezTo>
                    <a:pt x="101" y="319"/>
                    <a:pt x="99" y="281"/>
                    <a:pt x="94" y="266"/>
                  </a:cubicBezTo>
                  <a:cubicBezTo>
                    <a:pt x="88" y="244"/>
                    <a:pt x="78" y="224"/>
                    <a:pt x="70" y="206"/>
                  </a:cubicBezTo>
                  <a:cubicBezTo>
                    <a:pt x="58" y="182"/>
                    <a:pt x="48" y="161"/>
                    <a:pt x="48" y="143"/>
                  </a:cubicBezTo>
                  <a:cubicBezTo>
                    <a:pt x="48" y="91"/>
                    <a:pt x="91" y="48"/>
                    <a:pt x="144" y="48"/>
                  </a:cubicBezTo>
                  <a:cubicBezTo>
                    <a:pt x="196" y="48"/>
                    <a:pt x="239" y="91"/>
                    <a:pt x="239" y="143"/>
                  </a:cubicBezTo>
                  <a:cubicBezTo>
                    <a:pt x="239" y="161"/>
                    <a:pt x="229" y="182"/>
                    <a:pt x="218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11"/>
            <p:cNvSpPr>
              <a:spLocks/>
            </p:cNvSpPr>
            <p:nvPr/>
          </p:nvSpPr>
          <p:spPr bwMode="auto">
            <a:xfrm>
              <a:off x="-2300288" y="1770063"/>
              <a:ext cx="393700" cy="293688"/>
            </a:xfrm>
            <a:custGeom>
              <a:avLst/>
              <a:gdLst>
                <a:gd name="T0" fmla="*/ 16 w 105"/>
                <a:gd name="T1" fmla="*/ 48 h 78"/>
                <a:gd name="T2" fmla="*/ 66 w 105"/>
                <a:gd name="T3" fmla="*/ 75 h 78"/>
                <a:gd name="T4" fmla="*/ 77 w 105"/>
                <a:gd name="T5" fmla="*/ 78 h 78"/>
                <a:gd name="T6" fmla="*/ 98 w 105"/>
                <a:gd name="T7" fmla="*/ 65 h 78"/>
                <a:gd name="T8" fmla="*/ 88 w 105"/>
                <a:gd name="T9" fmla="*/ 32 h 78"/>
                <a:gd name="T10" fmla="*/ 39 w 105"/>
                <a:gd name="T11" fmla="*/ 6 h 78"/>
                <a:gd name="T12" fmla="*/ 7 w 105"/>
                <a:gd name="T13" fmla="*/ 16 h 78"/>
                <a:gd name="T14" fmla="*/ 16 w 105"/>
                <a:gd name="T15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78">
                  <a:moveTo>
                    <a:pt x="16" y="48"/>
                  </a:moveTo>
                  <a:cubicBezTo>
                    <a:pt x="66" y="75"/>
                    <a:pt x="66" y="75"/>
                    <a:pt x="66" y="75"/>
                  </a:cubicBezTo>
                  <a:cubicBezTo>
                    <a:pt x="69" y="77"/>
                    <a:pt x="73" y="78"/>
                    <a:pt x="77" y="78"/>
                  </a:cubicBezTo>
                  <a:cubicBezTo>
                    <a:pt x="86" y="78"/>
                    <a:pt x="94" y="73"/>
                    <a:pt x="98" y="65"/>
                  </a:cubicBezTo>
                  <a:cubicBezTo>
                    <a:pt x="105" y="53"/>
                    <a:pt x="100" y="39"/>
                    <a:pt x="88" y="32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27" y="0"/>
                    <a:pt x="13" y="4"/>
                    <a:pt x="7" y="16"/>
                  </a:cubicBezTo>
                  <a:cubicBezTo>
                    <a:pt x="0" y="28"/>
                    <a:pt x="5" y="42"/>
                    <a:pt x="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12"/>
            <p:cNvSpPr>
              <a:spLocks/>
            </p:cNvSpPr>
            <p:nvPr/>
          </p:nvSpPr>
          <p:spPr bwMode="auto">
            <a:xfrm>
              <a:off x="-1709738" y="1349376"/>
              <a:ext cx="261938" cy="395288"/>
            </a:xfrm>
            <a:custGeom>
              <a:avLst/>
              <a:gdLst>
                <a:gd name="T0" fmla="*/ 21 w 70"/>
                <a:gd name="T1" fmla="*/ 88 h 105"/>
                <a:gd name="T2" fmla="*/ 43 w 70"/>
                <a:gd name="T3" fmla="*/ 105 h 105"/>
                <a:gd name="T4" fmla="*/ 50 w 70"/>
                <a:gd name="T5" fmla="*/ 103 h 105"/>
                <a:gd name="T6" fmla="*/ 66 w 70"/>
                <a:gd name="T7" fmla="*/ 74 h 105"/>
                <a:gd name="T8" fmla="*/ 50 w 70"/>
                <a:gd name="T9" fmla="*/ 20 h 105"/>
                <a:gd name="T10" fmla="*/ 20 w 70"/>
                <a:gd name="T11" fmla="*/ 4 h 105"/>
                <a:gd name="T12" fmla="*/ 4 w 70"/>
                <a:gd name="T13" fmla="*/ 34 h 105"/>
                <a:gd name="T14" fmla="*/ 21 w 70"/>
                <a:gd name="T15" fmla="*/ 8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05">
                  <a:moveTo>
                    <a:pt x="21" y="88"/>
                  </a:moveTo>
                  <a:cubicBezTo>
                    <a:pt x="24" y="98"/>
                    <a:pt x="33" y="105"/>
                    <a:pt x="43" y="105"/>
                  </a:cubicBezTo>
                  <a:cubicBezTo>
                    <a:pt x="46" y="105"/>
                    <a:pt x="48" y="104"/>
                    <a:pt x="50" y="103"/>
                  </a:cubicBezTo>
                  <a:cubicBezTo>
                    <a:pt x="63" y="100"/>
                    <a:pt x="70" y="86"/>
                    <a:pt x="66" y="74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6" y="7"/>
                    <a:pt x="33" y="0"/>
                    <a:pt x="20" y="4"/>
                  </a:cubicBezTo>
                  <a:cubicBezTo>
                    <a:pt x="7" y="8"/>
                    <a:pt x="0" y="21"/>
                    <a:pt x="4" y="34"/>
                  </a:cubicBezTo>
                  <a:lnTo>
                    <a:pt x="2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13"/>
            <p:cNvSpPr>
              <a:spLocks/>
            </p:cNvSpPr>
            <p:nvPr/>
          </p:nvSpPr>
          <p:spPr bwMode="auto">
            <a:xfrm>
              <a:off x="-627063" y="1785938"/>
              <a:ext cx="390525" cy="293688"/>
            </a:xfrm>
            <a:custGeom>
              <a:avLst/>
              <a:gdLst>
                <a:gd name="T0" fmla="*/ 88 w 104"/>
                <a:gd name="T1" fmla="*/ 49 h 78"/>
                <a:gd name="T2" fmla="*/ 98 w 104"/>
                <a:gd name="T3" fmla="*/ 16 h 78"/>
                <a:gd name="T4" fmla="*/ 65 w 104"/>
                <a:gd name="T5" fmla="*/ 6 h 78"/>
                <a:gd name="T6" fmla="*/ 16 w 104"/>
                <a:gd name="T7" fmla="*/ 33 h 78"/>
                <a:gd name="T8" fmla="*/ 6 w 104"/>
                <a:gd name="T9" fmla="*/ 65 h 78"/>
                <a:gd name="T10" fmla="*/ 27 w 104"/>
                <a:gd name="T11" fmla="*/ 78 h 78"/>
                <a:gd name="T12" fmla="*/ 38 w 104"/>
                <a:gd name="T13" fmla="*/ 75 h 78"/>
                <a:gd name="T14" fmla="*/ 88 w 104"/>
                <a:gd name="T15" fmla="*/ 4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78">
                  <a:moveTo>
                    <a:pt x="88" y="49"/>
                  </a:moveTo>
                  <a:cubicBezTo>
                    <a:pt x="99" y="43"/>
                    <a:pt x="104" y="28"/>
                    <a:pt x="98" y="16"/>
                  </a:cubicBezTo>
                  <a:cubicBezTo>
                    <a:pt x="91" y="5"/>
                    <a:pt x="77" y="0"/>
                    <a:pt x="65" y="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4" y="39"/>
                    <a:pt x="0" y="54"/>
                    <a:pt x="6" y="65"/>
                  </a:cubicBezTo>
                  <a:cubicBezTo>
                    <a:pt x="10" y="73"/>
                    <a:pt x="18" y="78"/>
                    <a:pt x="27" y="78"/>
                  </a:cubicBezTo>
                  <a:cubicBezTo>
                    <a:pt x="31" y="78"/>
                    <a:pt x="35" y="77"/>
                    <a:pt x="38" y="75"/>
                  </a:cubicBezTo>
                  <a:lnTo>
                    <a:pt x="8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14"/>
            <p:cNvSpPr>
              <a:spLocks/>
            </p:cNvSpPr>
            <p:nvPr/>
          </p:nvSpPr>
          <p:spPr bwMode="auto">
            <a:xfrm>
              <a:off x="-522288" y="2401888"/>
              <a:ext cx="390525" cy="188913"/>
            </a:xfrm>
            <a:custGeom>
              <a:avLst/>
              <a:gdLst>
                <a:gd name="T0" fmla="*/ 80 w 104"/>
                <a:gd name="T1" fmla="*/ 2 h 50"/>
                <a:gd name="T2" fmla="*/ 24 w 104"/>
                <a:gd name="T3" fmla="*/ 1 h 50"/>
                <a:gd name="T4" fmla="*/ 0 w 104"/>
                <a:gd name="T5" fmla="*/ 24 h 50"/>
                <a:gd name="T6" fmla="*/ 23 w 104"/>
                <a:gd name="T7" fmla="*/ 49 h 50"/>
                <a:gd name="T8" fmla="*/ 79 w 104"/>
                <a:gd name="T9" fmla="*/ 50 h 50"/>
                <a:gd name="T10" fmla="*/ 80 w 104"/>
                <a:gd name="T11" fmla="*/ 50 h 50"/>
                <a:gd name="T12" fmla="*/ 104 w 104"/>
                <a:gd name="T13" fmla="*/ 26 h 50"/>
                <a:gd name="T14" fmla="*/ 80 w 104"/>
                <a:gd name="T1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50">
                  <a:moveTo>
                    <a:pt x="80" y="2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0" y="48"/>
                    <a:pt x="23" y="49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93" y="50"/>
                    <a:pt x="104" y="39"/>
                    <a:pt x="104" y="26"/>
                  </a:cubicBezTo>
                  <a:cubicBezTo>
                    <a:pt x="104" y="13"/>
                    <a:pt x="94" y="2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15"/>
            <p:cNvSpPr>
              <a:spLocks/>
            </p:cNvSpPr>
            <p:nvPr/>
          </p:nvSpPr>
          <p:spPr bwMode="auto">
            <a:xfrm>
              <a:off x="-2443163" y="2395538"/>
              <a:ext cx="393700" cy="187325"/>
            </a:xfrm>
            <a:custGeom>
              <a:avLst/>
              <a:gdLst>
                <a:gd name="T0" fmla="*/ 24 w 105"/>
                <a:gd name="T1" fmla="*/ 48 h 50"/>
                <a:gd name="T2" fmla="*/ 80 w 105"/>
                <a:gd name="T3" fmla="*/ 50 h 50"/>
                <a:gd name="T4" fmla="*/ 81 w 105"/>
                <a:gd name="T5" fmla="*/ 50 h 50"/>
                <a:gd name="T6" fmla="*/ 105 w 105"/>
                <a:gd name="T7" fmla="*/ 26 h 50"/>
                <a:gd name="T8" fmla="*/ 81 w 105"/>
                <a:gd name="T9" fmla="*/ 2 h 50"/>
                <a:gd name="T10" fmla="*/ 25 w 105"/>
                <a:gd name="T11" fmla="*/ 0 h 50"/>
                <a:gd name="T12" fmla="*/ 1 w 105"/>
                <a:gd name="T13" fmla="*/ 24 h 50"/>
                <a:gd name="T14" fmla="*/ 24 w 105"/>
                <a:gd name="T1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50">
                  <a:moveTo>
                    <a:pt x="24" y="48"/>
                  </a:moveTo>
                  <a:cubicBezTo>
                    <a:pt x="80" y="50"/>
                    <a:pt x="80" y="50"/>
                    <a:pt x="80" y="50"/>
                  </a:cubicBezTo>
                  <a:cubicBezTo>
                    <a:pt x="80" y="50"/>
                    <a:pt x="81" y="50"/>
                    <a:pt x="81" y="50"/>
                  </a:cubicBezTo>
                  <a:cubicBezTo>
                    <a:pt x="94" y="50"/>
                    <a:pt x="104" y="39"/>
                    <a:pt x="105" y="26"/>
                  </a:cubicBezTo>
                  <a:cubicBezTo>
                    <a:pt x="105" y="13"/>
                    <a:pt x="95" y="2"/>
                    <a:pt x="81" y="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2" y="0"/>
                    <a:pt x="1" y="10"/>
                    <a:pt x="1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16"/>
            <p:cNvSpPr>
              <a:spLocks/>
            </p:cNvSpPr>
            <p:nvPr/>
          </p:nvSpPr>
          <p:spPr bwMode="auto">
            <a:xfrm>
              <a:off x="-1052513" y="1368426"/>
              <a:ext cx="285750" cy="387350"/>
            </a:xfrm>
            <a:custGeom>
              <a:avLst/>
              <a:gdLst>
                <a:gd name="T0" fmla="*/ 18 w 76"/>
                <a:gd name="T1" fmla="*/ 101 h 103"/>
                <a:gd name="T2" fmla="*/ 27 w 76"/>
                <a:gd name="T3" fmla="*/ 103 h 103"/>
                <a:gd name="T4" fmla="*/ 49 w 76"/>
                <a:gd name="T5" fmla="*/ 88 h 103"/>
                <a:gd name="T6" fmla="*/ 71 w 76"/>
                <a:gd name="T7" fmla="*/ 36 h 103"/>
                <a:gd name="T8" fmla="*/ 58 w 76"/>
                <a:gd name="T9" fmla="*/ 5 h 103"/>
                <a:gd name="T10" fmla="*/ 26 w 76"/>
                <a:gd name="T11" fmla="*/ 18 h 103"/>
                <a:gd name="T12" fmla="*/ 5 w 76"/>
                <a:gd name="T13" fmla="*/ 70 h 103"/>
                <a:gd name="T14" fmla="*/ 18 w 76"/>
                <a:gd name="T15" fmla="*/ 10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03">
                  <a:moveTo>
                    <a:pt x="18" y="101"/>
                  </a:moveTo>
                  <a:cubicBezTo>
                    <a:pt x="21" y="102"/>
                    <a:pt x="24" y="103"/>
                    <a:pt x="27" y="103"/>
                  </a:cubicBezTo>
                  <a:cubicBezTo>
                    <a:pt x="37" y="103"/>
                    <a:pt x="46" y="97"/>
                    <a:pt x="49" y="88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6" y="24"/>
                    <a:pt x="70" y="10"/>
                    <a:pt x="58" y="5"/>
                  </a:cubicBezTo>
                  <a:cubicBezTo>
                    <a:pt x="45" y="0"/>
                    <a:pt x="31" y="6"/>
                    <a:pt x="26" y="18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0" y="82"/>
                    <a:pt x="6" y="96"/>
                    <a:pt x="18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8056335" y="4335501"/>
            <a:ext cx="566341" cy="469858"/>
            <a:chOff x="-2161241" y="1407261"/>
            <a:chExt cx="1945341" cy="1621425"/>
          </a:xfrm>
          <a:solidFill>
            <a:schemeClr val="accent3"/>
          </a:solidFill>
        </p:grpSpPr>
        <p:sp>
          <p:nvSpPr>
            <p:cNvPr id="90" name="Freeform 40"/>
            <p:cNvSpPr>
              <a:spLocks noEditPoints="1"/>
            </p:cNvSpPr>
            <p:nvPr/>
          </p:nvSpPr>
          <p:spPr bwMode="auto">
            <a:xfrm>
              <a:off x="-2161241" y="1407261"/>
              <a:ext cx="1945341" cy="1621425"/>
            </a:xfrm>
            <a:custGeom>
              <a:avLst/>
              <a:gdLst>
                <a:gd name="T0" fmla="*/ 816 w 890"/>
                <a:gd name="T1" fmla="*/ 0 h 742"/>
                <a:gd name="T2" fmla="*/ 73 w 890"/>
                <a:gd name="T3" fmla="*/ 0 h 742"/>
                <a:gd name="T4" fmla="*/ 0 w 890"/>
                <a:gd name="T5" fmla="*/ 73 h 742"/>
                <a:gd name="T6" fmla="*/ 0 w 890"/>
                <a:gd name="T7" fmla="*/ 559 h 742"/>
                <a:gd name="T8" fmla="*/ 73 w 890"/>
                <a:gd name="T9" fmla="*/ 632 h 742"/>
                <a:gd name="T10" fmla="*/ 421 w 890"/>
                <a:gd name="T11" fmla="*/ 632 h 742"/>
                <a:gd name="T12" fmla="*/ 421 w 890"/>
                <a:gd name="T13" fmla="*/ 694 h 742"/>
                <a:gd name="T14" fmla="*/ 281 w 890"/>
                <a:gd name="T15" fmla="*/ 694 h 742"/>
                <a:gd name="T16" fmla="*/ 257 w 890"/>
                <a:gd name="T17" fmla="*/ 718 h 742"/>
                <a:gd name="T18" fmla="*/ 281 w 890"/>
                <a:gd name="T19" fmla="*/ 742 h 742"/>
                <a:gd name="T20" fmla="*/ 608 w 890"/>
                <a:gd name="T21" fmla="*/ 742 h 742"/>
                <a:gd name="T22" fmla="*/ 632 w 890"/>
                <a:gd name="T23" fmla="*/ 718 h 742"/>
                <a:gd name="T24" fmla="*/ 608 w 890"/>
                <a:gd name="T25" fmla="*/ 694 h 742"/>
                <a:gd name="T26" fmla="*/ 469 w 890"/>
                <a:gd name="T27" fmla="*/ 694 h 742"/>
                <a:gd name="T28" fmla="*/ 469 w 890"/>
                <a:gd name="T29" fmla="*/ 632 h 742"/>
                <a:gd name="T30" fmla="*/ 816 w 890"/>
                <a:gd name="T31" fmla="*/ 632 h 742"/>
                <a:gd name="T32" fmla="*/ 890 w 890"/>
                <a:gd name="T33" fmla="*/ 559 h 742"/>
                <a:gd name="T34" fmla="*/ 890 w 890"/>
                <a:gd name="T35" fmla="*/ 73 h 742"/>
                <a:gd name="T36" fmla="*/ 816 w 890"/>
                <a:gd name="T37" fmla="*/ 0 h 742"/>
                <a:gd name="T38" fmla="*/ 73 w 890"/>
                <a:gd name="T39" fmla="*/ 48 h 742"/>
                <a:gd name="T40" fmla="*/ 816 w 890"/>
                <a:gd name="T41" fmla="*/ 48 h 742"/>
                <a:gd name="T42" fmla="*/ 842 w 890"/>
                <a:gd name="T43" fmla="*/ 73 h 742"/>
                <a:gd name="T44" fmla="*/ 842 w 890"/>
                <a:gd name="T45" fmla="*/ 494 h 742"/>
                <a:gd name="T46" fmla="*/ 48 w 890"/>
                <a:gd name="T47" fmla="*/ 494 h 742"/>
                <a:gd name="T48" fmla="*/ 48 w 890"/>
                <a:gd name="T49" fmla="*/ 73 h 742"/>
                <a:gd name="T50" fmla="*/ 73 w 890"/>
                <a:gd name="T51" fmla="*/ 48 h 742"/>
                <a:gd name="T52" fmla="*/ 816 w 890"/>
                <a:gd name="T53" fmla="*/ 584 h 742"/>
                <a:gd name="T54" fmla="*/ 73 w 890"/>
                <a:gd name="T55" fmla="*/ 584 h 742"/>
                <a:gd name="T56" fmla="*/ 48 w 890"/>
                <a:gd name="T57" fmla="*/ 559 h 742"/>
                <a:gd name="T58" fmla="*/ 48 w 890"/>
                <a:gd name="T59" fmla="*/ 542 h 742"/>
                <a:gd name="T60" fmla="*/ 842 w 890"/>
                <a:gd name="T61" fmla="*/ 542 h 742"/>
                <a:gd name="T62" fmla="*/ 842 w 890"/>
                <a:gd name="T63" fmla="*/ 559 h 742"/>
                <a:gd name="T64" fmla="*/ 816 w 890"/>
                <a:gd name="T65" fmla="*/ 584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90" h="742">
                  <a:moveTo>
                    <a:pt x="816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33" y="0"/>
                    <a:pt x="0" y="33"/>
                    <a:pt x="0" y="73"/>
                  </a:cubicBezTo>
                  <a:cubicBezTo>
                    <a:pt x="0" y="559"/>
                    <a:pt x="0" y="559"/>
                    <a:pt x="0" y="559"/>
                  </a:cubicBezTo>
                  <a:cubicBezTo>
                    <a:pt x="0" y="599"/>
                    <a:pt x="33" y="632"/>
                    <a:pt x="73" y="632"/>
                  </a:cubicBezTo>
                  <a:cubicBezTo>
                    <a:pt x="421" y="632"/>
                    <a:pt x="421" y="632"/>
                    <a:pt x="421" y="632"/>
                  </a:cubicBezTo>
                  <a:cubicBezTo>
                    <a:pt x="421" y="694"/>
                    <a:pt x="421" y="694"/>
                    <a:pt x="421" y="694"/>
                  </a:cubicBezTo>
                  <a:cubicBezTo>
                    <a:pt x="281" y="694"/>
                    <a:pt x="281" y="694"/>
                    <a:pt x="281" y="694"/>
                  </a:cubicBezTo>
                  <a:cubicBezTo>
                    <a:pt x="268" y="694"/>
                    <a:pt x="257" y="705"/>
                    <a:pt x="257" y="718"/>
                  </a:cubicBezTo>
                  <a:cubicBezTo>
                    <a:pt x="257" y="731"/>
                    <a:pt x="268" y="742"/>
                    <a:pt x="281" y="742"/>
                  </a:cubicBezTo>
                  <a:cubicBezTo>
                    <a:pt x="608" y="742"/>
                    <a:pt x="608" y="742"/>
                    <a:pt x="608" y="742"/>
                  </a:cubicBezTo>
                  <a:cubicBezTo>
                    <a:pt x="621" y="742"/>
                    <a:pt x="632" y="731"/>
                    <a:pt x="632" y="718"/>
                  </a:cubicBezTo>
                  <a:cubicBezTo>
                    <a:pt x="632" y="705"/>
                    <a:pt x="621" y="694"/>
                    <a:pt x="608" y="694"/>
                  </a:cubicBezTo>
                  <a:cubicBezTo>
                    <a:pt x="469" y="694"/>
                    <a:pt x="469" y="694"/>
                    <a:pt x="469" y="694"/>
                  </a:cubicBezTo>
                  <a:cubicBezTo>
                    <a:pt x="469" y="632"/>
                    <a:pt x="469" y="632"/>
                    <a:pt x="469" y="632"/>
                  </a:cubicBezTo>
                  <a:cubicBezTo>
                    <a:pt x="816" y="632"/>
                    <a:pt x="816" y="632"/>
                    <a:pt x="816" y="632"/>
                  </a:cubicBezTo>
                  <a:cubicBezTo>
                    <a:pt x="857" y="632"/>
                    <a:pt x="890" y="599"/>
                    <a:pt x="890" y="559"/>
                  </a:cubicBezTo>
                  <a:cubicBezTo>
                    <a:pt x="890" y="73"/>
                    <a:pt x="890" y="73"/>
                    <a:pt x="890" y="73"/>
                  </a:cubicBezTo>
                  <a:cubicBezTo>
                    <a:pt x="890" y="33"/>
                    <a:pt x="857" y="0"/>
                    <a:pt x="816" y="0"/>
                  </a:cubicBezTo>
                  <a:close/>
                  <a:moveTo>
                    <a:pt x="73" y="48"/>
                  </a:moveTo>
                  <a:cubicBezTo>
                    <a:pt x="816" y="48"/>
                    <a:pt x="816" y="48"/>
                    <a:pt x="816" y="48"/>
                  </a:cubicBezTo>
                  <a:cubicBezTo>
                    <a:pt x="830" y="48"/>
                    <a:pt x="842" y="59"/>
                    <a:pt x="842" y="73"/>
                  </a:cubicBezTo>
                  <a:cubicBezTo>
                    <a:pt x="842" y="494"/>
                    <a:pt x="842" y="494"/>
                    <a:pt x="842" y="494"/>
                  </a:cubicBezTo>
                  <a:cubicBezTo>
                    <a:pt x="48" y="494"/>
                    <a:pt x="48" y="494"/>
                    <a:pt x="48" y="494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59"/>
                    <a:pt x="59" y="48"/>
                    <a:pt x="73" y="48"/>
                  </a:cubicBezTo>
                  <a:close/>
                  <a:moveTo>
                    <a:pt x="816" y="584"/>
                  </a:moveTo>
                  <a:cubicBezTo>
                    <a:pt x="73" y="584"/>
                    <a:pt x="73" y="584"/>
                    <a:pt x="73" y="584"/>
                  </a:cubicBezTo>
                  <a:cubicBezTo>
                    <a:pt x="59" y="584"/>
                    <a:pt x="48" y="573"/>
                    <a:pt x="48" y="559"/>
                  </a:cubicBezTo>
                  <a:cubicBezTo>
                    <a:pt x="48" y="542"/>
                    <a:pt x="48" y="542"/>
                    <a:pt x="48" y="542"/>
                  </a:cubicBezTo>
                  <a:cubicBezTo>
                    <a:pt x="842" y="542"/>
                    <a:pt x="842" y="542"/>
                    <a:pt x="842" y="542"/>
                  </a:cubicBezTo>
                  <a:cubicBezTo>
                    <a:pt x="842" y="559"/>
                    <a:pt x="842" y="559"/>
                    <a:pt x="842" y="559"/>
                  </a:cubicBezTo>
                  <a:cubicBezTo>
                    <a:pt x="842" y="573"/>
                    <a:pt x="830" y="584"/>
                    <a:pt x="816" y="5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B3A42"/>
                </a:solidFill>
              </a:endParaRPr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-1623393" y="1569896"/>
              <a:ext cx="869644" cy="1005562"/>
              <a:chOff x="-2536825" y="1144588"/>
              <a:chExt cx="2397125" cy="2771775"/>
            </a:xfrm>
            <a:grpFill/>
          </p:grpSpPr>
          <p:sp>
            <p:nvSpPr>
              <p:cNvPr id="92" name="Freeform 42"/>
              <p:cNvSpPr>
                <a:spLocks noEditPoints="1"/>
              </p:cNvSpPr>
              <p:nvPr/>
            </p:nvSpPr>
            <p:spPr bwMode="auto">
              <a:xfrm>
                <a:off x="-2536825" y="1144588"/>
                <a:ext cx="2397125" cy="2771775"/>
              </a:xfrm>
              <a:custGeom>
                <a:avLst/>
                <a:gdLst>
                  <a:gd name="T0" fmla="*/ 48 w 637"/>
                  <a:gd name="T1" fmla="*/ 737 h 737"/>
                  <a:gd name="T2" fmla="*/ 130 w 637"/>
                  <a:gd name="T3" fmla="*/ 487 h 737"/>
                  <a:gd name="T4" fmla="*/ 319 w 637"/>
                  <a:gd name="T5" fmla="*/ 403 h 737"/>
                  <a:gd name="T6" fmla="*/ 507 w 637"/>
                  <a:gd name="T7" fmla="*/ 487 h 737"/>
                  <a:gd name="T8" fmla="*/ 589 w 637"/>
                  <a:gd name="T9" fmla="*/ 737 h 737"/>
                  <a:gd name="T10" fmla="*/ 637 w 637"/>
                  <a:gd name="T11" fmla="*/ 737 h 737"/>
                  <a:gd name="T12" fmla="*/ 543 w 637"/>
                  <a:gd name="T13" fmla="*/ 455 h 737"/>
                  <a:gd name="T14" fmla="*/ 416 w 637"/>
                  <a:gd name="T15" fmla="*/ 371 h 737"/>
                  <a:gd name="T16" fmla="*/ 517 w 637"/>
                  <a:gd name="T17" fmla="*/ 199 h 737"/>
                  <a:gd name="T18" fmla="*/ 319 w 637"/>
                  <a:gd name="T19" fmla="*/ 0 h 737"/>
                  <a:gd name="T20" fmla="*/ 120 w 637"/>
                  <a:gd name="T21" fmla="*/ 199 h 737"/>
                  <a:gd name="T22" fmla="*/ 221 w 637"/>
                  <a:gd name="T23" fmla="*/ 371 h 737"/>
                  <a:gd name="T24" fmla="*/ 94 w 637"/>
                  <a:gd name="T25" fmla="*/ 455 h 737"/>
                  <a:gd name="T26" fmla="*/ 0 w 637"/>
                  <a:gd name="T27" fmla="*/ 737 h 737"/>
                  <a:gd name="T28" fmla="*/ 48 w 637"/>
                  <a:gd name="T29" fmla="*/ 737 h 737"/>
                  <a:gd name="T30" fmla="*/ 168 w 637"/>
                  <a:gd name="T31" fmla="*/ 199 h 737"/>
                  <a:gd name="T32" fmla="*/ 319 w 637"/>
                  <a:gd name="T33" fmla="*/ 48 h 737"/>
                  <a:gd name="T34" fmla="*/ 469 w 637"/>
                  <a:gd name="T35" fmla="*/ 199 h 737"/>
                  <a:gd name="T36" fmla="*/ 319 w 637"/>
                  <a:gd name="T37" fmla="*/ 349 h 737"/>
                  <a:gd name="T38" fmla="*/ 168 w 637"/>
                  <a:gd name="T39" fmla="*/ 199 h 7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37" h="737">
                    <a:moveTo>
                      <a:pt x="48" y="737"/>
                    </a:moveTo>
                    <a:cubicBezTo>
                      <a:pt x="48" y="633"/>
                      <a:pt x="76" y="547"/>
                      <a:pt x="130" y="487"/>
                    </a:cubicBezTo>
                    <a:cubicBezTo>
                      <a:pt x="178" y="433"/>
                      <a:pt x="245" y="403"/>
                      <a:pt x="319" y="403"/>
                    </a:cubicBezTo>
                    <a:cubicBezTo>
                      <a:pt x="392" y="403"/>
                      <a:pt x="459" y="433"/>
                      <a:pt x="507" y="487"/>
                    </a:cubicBezTo>
                    <a:cubicBezTo>
                      <a:pt x="561" y="547"/>
                      <a:pt x="589" y="633"/>
                      <a:pt x="589" y="737"/>
                    </a:cubicBezTo>
                    <a:cubicBezTo>
                      <a:pt x="637" y="737"/>
                      <a:pt x="637" y="737"/>
                      <a:pt x="637" y="737"/>
                    </a:cubicBezTo>
                    <a:cubicBezTo>
                      <a:pt x="637" y="621"/>
                      <a:pt x="604" y="524"/>
                      <a:pt x="543" y="455"/>
                    </a:cubicBezTo>
                    <a:cubicBezTo>
                      <a:pt x="508" y="416"/>
                      <a:pt x="465" y="387"/>
                      <a:pt x="416" y="371"/>
                    </a:cubicBezTo>
                    <a:cubicBezTo>
                      <a:pt x="476" y="337"/>
                      <a:pt x="517" y="272"/>
                      <a:pt x="517" y="199"/>
                    </a:cubicBezTo>
                    <a:cubicBezTo>
                      <a:pt x="517" y="89"/>
                      <a:pt x="428" y="0"/>
                      <a:pt x="319" y="0"/>
                    </a:cubicBezTo>
                    <a:cubicBezTo>
                      <a:pt x="209" y="0"/>
                      <a:pt x="120" y="89"/>
                      <a:pt x="120" y="199"/>
                    </a:cubicBezTo>
                    <a:cubicBezTo>
                      <a:pt x="120" y="272"/>
                      <a:pt x="161" y="337"/>
                      <a:pt x="221" y="371"/>
                    </a:cubicBezTo>
                    <a:cubicBezTo>
                      <a:pt x="172" y="387"/>
                      <a:pt x="129" y="416"/>
                      <a:pt x="94" y="455"/>
                    </a:cubicBezTo>
                    <a:cubicBezTo>
                      <a:pt x="33" y="524"/>
                      <a:pt x="0" y="621"/>
                      <a:pt x="0" y="737"/>
                    </a:cubicBezTo>
                    <a:lnTo>
                      <a:pt x="48" y="737"/>
                    </a:lnTo>
                    <a:close/>
                    <a:moveTo>
                      <a:pt x="168" y="199"/>
                    </a:moveTo>
                    <a:cubicBezTo>
                      <a:pt x="168" y="116"/>
                      <a:pt x="236" y="48"/>
                      <a:pt x="319" y="48"/>
                    </a:cubicBezTo>
                    <a:cubicBezTo>
                      <a:pt x="401" y="48"/>
                      <a:pt x="469" y="116"/>
                      <a:pt x="469" y="199"/>
                    </a:cubicBezTo>
                    <a:cubicBezTo>
                      <a:pt x="469" y="281"/>
                      <a:pt x="401" y="349"/>
                      <a:pt x="319" y="349"/>
                    </a:cubicBezTo>
                    <a:cubicBezTo>
                      <a:pt x="236" y="349"/>
                      <a:pt x="168" y="281"/>
                      <a:pt x="168" y="1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3B02A"/>
                  </a:solidFill>
                </a:endParaRPr>
              </a:p>
            </p:txBody>
          </p:sp>
          <p:sp>
            <p:nvSpPr>
              <p:cNvPr id="93" name="Freeform 43"/>
              <p:cNvSpPr>
                <a:spLocks/>
              </p:cNvSpPr>
              <p:nvPr/>
            </p:nvSpPr>
            <p:spPr bwMode="auto">
              <a:xfrm>
                <a:off x="-1606104" y="1911350"/>
                <a:ext cx="609600" cy="312736"/>
              </a:xfrm>
              <a:custGeom>
                <a:avLst/>
                <a:gdLst>
                  <a:gd name="T0" fmla="*/ 155 w 162"/>
                  <a:gd name="T1" fmla="*/ 41 h 83"/>
                  <a:gd name="T2" fmla="*/ 148 w 162"/>
                  <a:gd name="T3" fmla="*/ 8 h 83"/>
                  <a:gd name="T4" fmla="*/ 115 w 162"/>
                  <a:gd name="T5" fmla="*/ 14 h 83"/>
                  <a:gd name="T6" fmla="*/ 81 w 162"/>
                  <a:gd name="T7" fmla="*/ 35 h 83"/>
                  <a:gd name="T8" fmla="*/ 81 w 162"/>
                  <a:gd name="T9" fmla="*/ 35 h 83"/>
                  <a:gd name="T10" fmla="*/ 48 w 162"/>
                  <a:gd name="T11" fmla="*/ 15 h 83"/>
                  <a:gd name="T12" fmla="*/ 15 w 162"/>
                  <a:gd name="T13" fmla="*/ 7 h 83"/>
                  <a:gd name="T14" fmla="*/ 7 w 162"/>
                  <a:gd name="T15" fmla="*/ 40 h 83"/>
                  <a:gd name="T16" fmla="*/ 81 w 162"/>
                  <a:gd name="T17" fmla="*/ 83 h 83"/>
                  <a:gd name="T18" fmla="*/ 81 w 162"/>
                  <a:gd name="T19" fmla="*/ 83 h 83"/>
                  <a:gd name="T20" fmla="*/ 155 w 162"/>
                  <a:gd name="T21" fmla="*/ 41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2" h="83">
                    <a:moveTo>
                      <a:pt x="155" y="41"/>
                    </a:moveTo>
                    <a:cubicBezTo>
                      <a:pt x="162" y="30"/>
                      <a:pt x="159" y="15"/>
                      <a:pt x="148" y="8"/>
                    </a:cubicBezTo>
                    <a:cubicBezTo>
                      <a:pt x="137" y="0"/>
                      <a:pt x="122" y="3"/>
                      <a:pt x="115" y="14"/>
                    </a:cubicBezTo>
                    <a:cubicBezTo>
                      <a:pt x="102" y="35"/>
                      <a:pt x="82" y="35"/>
                      <a:pt x="81" y="35"/>
                    </a:cubicBezTo>
                    <a:cubicBezTo>
                      <a:pt x="81" y="35"/>
                      <a:pt x="81" y="35"/>
                      <a:pt x="81" y="35"/>
                    </a:cubicBezTo>
                    <a:cubicBezTo>
                      <a:pt x="72" y="35"/>
                      <a:pt x="58" y="31"/>
                      <a:pt x="48" y="15"/>
                    </a:cubicBezTo>
                    <a:cubicBezTo>
                      <a:pt x="41" y="4"/>
                      <a:pt x="26" y="0"/>
                      <a:pt x="15" y="7"/>
                    </a:cubicBezTo>
                    <a:cubicBezTo>
                      <a:pt x="4" y="14"/>
                      <a:pt x="0" y="29"/>
                      <a:pt x="7" y="40"/>
                    </a:cubicBezTo>
                    <a:cubicBezTo>
                      <a:pt x="24" y="67"/>
                      <a:pt x="51" y="83"/>
                      <a:pt x="81" y="83"/>
                    </a:cubicBezTo>
                    <a:cubicBezTo>
                      <a:pt x="81" y="83"/>
                      <a:pt x="81" y="83"/>
                      <a:pt x="81" y="83"/>
                    </a:cubicBezTo>
                    <a:cubicBezTo>
                      <a:pt x="89" y="83"/>
                      <a:pt x="129" y="81"/>
                      <a:pt x="15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43B02A"/>
                  </a:solidFill>
                </a:endParaRPr>
              </a:p>
            </p:txBody>
          </p:sp>
        </p:grpSp>
      </p:grpSp>
      <p:sp>
        <p:nvSpPr>
          <p:cNvPr id="4" name="Rectangle 3"/>
          <p:cNvSpPr/>
          <p:nvPr/>
        </p:nvSpPr>
        <p:spPr>
          <a:xfrm>
            <a:off x="6839712" y="3212925"/>
            <a:ext cx="250526" cy="406965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03037" y="611185"/>
            <a:ext cx="7492007" cy="62016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000"/>
              </a:spcBef>
            </a:pPr>
            <a:r>
              <a:rPr lang="en-US" sz="1600" dirty="0">
                <a:solidFill>
                  <a:schemeClr val="tx2"/>
                </a:solidFill>
              </a:rPr>
              <a:t>Connected health transforms the boundaries of Health Care by – </a:t>
            </a:r>
          </a:p>
          <a:p>
            <a:pPr>
              <a:spcBef>
                <a:spcPts val="1000"/>
              </a:spcBef>
            </a:pPr>
            <a:endParaRPr lang="en-US" sz="1600" dirty="0">
              <a:solidFill>
                <a:schemeClr val="tx2"/>
              </a:solidFill>
            </a:endParaRPr>
          </a:p>
          <a:p>
            <a:pPr>
              <a:spcBef>
                <a:spcPts val="1000"/>
              </a:spcBef>
            </a:pPr>
            <a:r>
              <a:rPr lang="en-US" sz="1600" i="1" dirty="0">
                <a:solidFill>
                  <a:schemeClr val="accent1"/>
                </a:solidFill>
              </a:rPr>
              <a:t>Quality of care/Patient Centricity :</a:t>
            </a:r>
          </a:p>
          <a:p>
            <a:pPr marL="285750" indent="-285750">
              <a:spcBef>
                <a:spcPts val="1000"/>
              </a:spcBef>
              <a:buFont typeface="Courier New" panose="02070309020205020404" pitchFamily="49" charset="0"/>
              <a:buChar char="o"/>
            </a:pPr>
            <a:r>
              <a:rPr lang="en-US" sz="1600" b="1" dirty="0">
                <a:solidFill>
                  <a:schemeClr val="tx2"/>
                </a:solidFill>
              </a:rPr>
              <a:t>Telemedicine : </a:t>
            </a:r>
            <a:r>
              <a:rPr lang="en-US" sz="1600" dirty="0">
                <a:solidFill>
                  <a:schemeClr val="tx2"/>
                </a:solidFill>
              </a:rPr>
              <a:t>Shifting the treatment to the patient location</a:t>
            </a:r>
          </a:p>
          <a:p>
            <a:pPr marL="285750" indent="-285750">
              <a:spcBef>
                <a:spcPts val="1000"/>
              </a:spcBef>
              <a:buFont typeface="Courier New" panose="02070309020205020404" pitchFamily="49" charset="0"/>
              <a:buChar char="o"/>
            </a:pPr>
            <a:r>
              <a:rPr lang="en-US" sz="1600" b="1" dirty="0">
                <a:solidFill>
                  <a:schemeClr val="tx2"/>
                </a:solidFill>
              </a:rPr>
              <a:t>Remote patient monitoring &amp; Tracking</a:t>
            </a:r>
          </a:p>
          <a:p>
            <a:pPr>
              <a:spcBef>
                <a:spcPts val="1000"/>
              </a:spcBef>
            </a:pPr>
            <a:endParaRPr lang="en-US" sz="1600" b="1" dirty="0">
              <a:solidFill>
                <a:schemeClr val="tx2"/>
              </a:solidFill>
            </a:endParaRPr>
          </a:p>
          <a:p>
            <a:pPr>
              <a:spcBef>
                <a:spcPts val="1000"/>
              </a:spcBef>
            </a:pPr>
            <a:r>
              <a:rPr lang="en-US" sz="1600" i="1" dirty="0">
                <a:solidFill>
                  <a:schemeClr val="accent1"/>
                </a:solidFill>
              </a:rPr>
              <a:t>Data Driven Personalization:</a:t>
            </a:r>
          </a:p>
          <a:p>
            <a:pPr marL="285750" indent="-285750">
              <a:spcBef>
                <a:spcPts val="1000"/>
              </a:spcBef>
              <a:buFont typeface="Courier New" panose="02070309020205020404" pitchFamily="49" charset="0"/>
              <a:buChar char="o"/>
            </a:pPr>
            <a:r>
              <a:rPr lang="en-US" sz="1600" b="1" dirty="0">
                <a:solidFill>
                  <a:schemeClr val="tx2"/>
                </a:solidFill>
              </a:rPr>
              <a:t>Wearables : </a:t>
            </a:r>
            <a:r>
              <a:rPr lang="en-US" sz="1600" dirty="0">
                <a:solidFill>
                  <a:schemeClr val="tx2"/>
                </a:solidFill>
              </a:rPr>
              <a:t>Real-time and near-continuous data collection</a:t>
            </a:r>
          </a:p>
          <a:p>
            <a:pPr marL="285750" indent="-285750">
              <a:spcBef>
                <a:spcPts val="1000"/>
              </a:spcBef>
              <a:buFont typeface="Courier New" panose="02070309020205020404" pitchFamily="49" charset="0"/>
              <a:buChar char="o"/>
            </a:pPr>
            <a:r>
              <a:rPr lang="en-US" sz="1600" b="1" dirty="0">
                <a:solidFill>
                  <a:schemeClr val="tx2"/>
                </a:solidFill>
              </a:rPr>
              <a:t>Internet of Things : </a:t>
            </a:r>
            <a:r>
              <a:rPr lang="en-US" sz="1600" dirty="0">
                <a:solidFill>
                  <a:schemeClr val="tx2"/>
                </a:solidFill>
              </a:rPr>
              <a:t>Incorporating novel data sources (e.g. unstructured)</a:t>
            </a:r>
          </a:p>
          <a:p>
            <a:pPr marL="285750" indent="-285750">
              <a:spcBef>
                <a:spcPts val="1000"/>
              </a:spcBef>
              <a:buFont typeface="Courier New" panose="02070309020205020404" pitchFamily="49" charset="0"/>
              <a:buChar char="o"/>
            </a:pPr>
            <a:r>
              <a:rPr lang="en-US" sz="1600" b="1" dirty="0">
                <a:solidFill>
                  <a:schemeClr val="tx2"/>
                </a:solidFill>
              </a:rPr>
              <a:t>Big Data and Analytics : </a:t>
            </a:r>
            <a:r>
              <a:rPr lang="en-US" sz="1600" dirty="0">
                <a:solidFill>
                  <a:schemeClr val="tx2"/>
                </a:solidFill>
              </a:rPr>
              <a:t>Integrating data from multiple sources (clinical, lab, biological, contextual, device data, etc.)</a:t>
            </a:r>
          </a:p>
          <a:p>
            <a:pPr>
              <a:spcBef>
                <a:spcPts val="1000"/>
              </a:spcBef>
            </a:pPr>
            <a:endParaRPr lang="en-US" sz="1600" dirty="0">
              <a:solidFill>
                <a:schemeClr val="tx2"/>
              </a:solidFill>
            </a:endParaRPr>
          </a:p>
          <a:p>
            <a:pPr>
              <a:spcBef>
                <a:spcPts val="1000"/>
              </a:spcBef>
            </a:pPr>
            <a:r>
              <a:rPr lang="en-US" sz="1600" i="1" dirty="0">
                <a:solidFill>
                  <a:schemeClr val="accent1"/>
                </a:solidFill>
              </a:rPr>
              <a:t>Value based Care:</a:t>
            </a:r>
          </a:p>
          <a:p>
            <a:pPr marL="285750" indent="-285750">
              <a:spcBef>
                <a:spcPts val="1000"/>
              </a:spcBef>
              <a:buFont typeface="Courier New" panose="02070309020205020404" pitchFamily="49" charset="0"/>
              <a:buChar char="o"/>
            </a:pPr>
            <a:r>
              <a:rPr lang="en-US" sz="1600" b="1" dirty="0">
                <a:solidFill>
                  <a:schemeClr val="tx2"/>
                </a:solidFill>
              </a:rPr>
              <a:t>Artificial Intelligence : </a:t>
            </a:r>
          </a:p>
          <a:p>
            <a:pPr marL="742950" lvl="1" indent="-285750">
              <a:spcBef>
                <a:spcPts val="10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</a:rPr>
              <a:t>AI-based health assistants</a:t>
            </a:r>
          </a:p>
          <a:p>
            <a:pPr marL="742950" lvl="1" indent="-285750">
              <a:spcBef>
                <a:spcPts val="10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</a:rPr>
              <a:t>Early and precise diagnosis</a:t>
            </a:r>
          </a:p>
          <a:p>
            <a:pPr marL="742950" lvl="1" indent="-285750">
              <a:spcBef>
                <a:spcPts val="10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2"/>
                </a:solidFill>
              </a:rPr>
              <a:t>Improved patient care and treatment</a:t>
            </a:r>
          </a:p>
        </p:txBody>
      </p:sp>
    </p:spTree>
    <p:extLst>
      <p:ext uri="{BB962C8B-B14F-4D97-AF65-F5344CB8AC3E}">
        <p14:creationId xmlns:p14="http://schemas.microsoft.com/office/powerpoint/2010/main" val="1974041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>
            <a:extLst>
              <a:ext uri="{FF2B5EF4-FFF2-40B4-BE49-F238E27FC236}">
                <a16:creationId xmlns:a16="http://schemas.microsoft.com/office/drawing/2014/main" id="{7A8A5F8B-23D8-4183-A129-FDC2686E5620}"/>
              </a:ext>
            </a:extLst>
          </p:cNvPr>
          <p:cNvSpPr/>
          <p:nvPr/>
        </p:nvSpPr>
        <p:spPr>
          <a:xfrm>
            <a:off x="3356958" y="1064496"/>
            <a:ext cx="5685710" cy="5439070"/>
          </a:xfrm>
          <a:prstGeom prst="ellipse">
            <a:avLst/>
          </a:prstGeom>
          <a:gradFill flip="none" rotWithShape="1">
            <a:gsLst>
              <a:gs pos="22000">
                <a:schemeClr val="bg1">
                  <a:shade val="30000"/>
                  <a:satMod val="115000"/>
                  <a:alpha val="0"/>
                  <a:lumMod val="0"/>
                  <a:lumOff val="100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38100" cap="flat">
            <a:noFill/>
            <a:prstDash val="solid"/>
            <a:miter lim="800000"/>
          </a:ln>
          <a:effectLst>
            <a:outerShdw blurRad="177800" sx="102000" sy="102000" algn="ctr" rotWithShape="0">
              <a:prstClr val="black">
                <a:alpha val="18000"/>
              </a:prstClr>
            </a:outerShdw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EE122A-DECD-4C5A-A973-1B76F87B0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1828800" rtl="0" eaLnBrk="1" latinLnBrk="0" hangingPunct="1"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F63A3B-78C7-47BE-AE5E-E10140E0464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D6854A3-2922-4B31-BC14-095E2B174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86" y="1"/>
            <a:ext cx="11934853" cy="566308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tx2"/>
                </a:solidFill>
                <a:cs typeface="Arial" panose="020B0604020202020204" pitchFamily="34" charset="0"/>
              </a:rPr>
              <a:t>How is technology transforming the clinical development world?</a:t>
            </a:r>
            <a:endParaRPr lang="en-US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2A31C4D-E475-4CD6-81BE-48F86B3AE979}"/>
              </a:ext>
            </a:extLst>
          </p:cNvPr>
          <p:cNvSpPr txBox="1">
            <a:spLocks/>
          </p:cNvSpPr>
          <p:nvPr/>
        </p:nvSpPr>
        <p:spPr>
          <a:xfrm>
            <a:off x="297712" y="611472"/>
            <a:ext cx="11528980" cy="383260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i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371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8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2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tx1"/>
                </a:solidFill>
              </a:rPr>
              <a:t>~$1.7B market in 2020, growing at ~12-20% CAGR </a:t>
            </a:r>
          </a:p>
        </p:txBody>
      </p:sp>
      <p:graphicFrame>
        <p:nvGraphicFramePr>
          <p:cNvPr id="27" name="Content Placeholder 4">
            <a:extLst>
              <a:ext uri="{FF2B5EF4-FFF2-40B4-BE49-F238E27FC236}">
                <a16:creationId xmlns:a16="http://schemas.microsoft.com/office/drawing/2014/main" id="{9E58AF30-859B-4B66-9454-A707687E386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81018190"/>
              </p:ext>
            </p:extLst>
          </p:nvPr>
        </p:nvGraphicFramePr>
        <p:xfrm>
          <a:off x="1830546" y="1677988"/>
          <a:ext cx="8838912" cy="41688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Freeform 141">
            <a:extLst>
              <a:ext uri="{FF2B5EF4-FFF2-40B4-BE49-F238E27FC236}">
                <a16:creationId xmlns:a16="http://schemas.microsoft.com/office/drawing/2014/main" id="{D504DB47-709E-4416-8F3B-D8EB71C9FAA8}"/>
              </a:ext>
            </a:extLst>
          </p:cNvPr>
          <p:cNvSpPr/>
          <p:nvPr/>
        </p:nvSpPr>
        <p:spPr>
          <a:xfrm>
            <a:off x="4759063" y="5661746"/>
            <a:ext cx="938306" cy="938306"/>
          </a:xfrm>
          <a:custGeom>
            <a:avLst/>
            <a:gdLst>
              <a:gd name="connsiteX0" fmla="*/ 0 w 1220897"/>
              <a:gd name="connsiteY0" fmla="*/ 610449 h 1220897"/>
              <a:gd name="connsiteX1" fmla="*/ 610449 w 1220897"/>
              <a:gd name="connsiteY1" fmla="*/ 0 h 1220897"/>
              <a:gd name="connsiteX2" fmla="*/ 1220898 w 1220897"/>
              <a:gd name="connsiteY2" fmla="*/ 610449 h 1220897"/>
              <a:gd name="connsiteX3" fmla="*/ 610449 w 1220897"/>
              <a:gd name="connsiteY3" fmla="*/ 1220898 h 1220897"/>
              <a:gd name="connsiteX4" fmla="*/ 0 w 1220897"/>
              <a:gd name="connsiteY4" fmla="*/ 610449 h 1220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897" h="1220897">
                <a:moveTo>
                  <a:pt x="0" y="610449"/>
                </a:moveTo>
                <a:cubicBezTo>
                  <a:pt x="0" y="273307"/>
                  <a:pt x="273307" y="0"/>
                  <a:pt x="610449" y="0"/>
                </a:cubicBezTo>
                <a:cubicBezTo>
                  <a:pt x="947591" y="0"/>
                  <a:pt x="1220898" y="273307"/>
                  <a:pt x="1220898" y="610449"/>
                </a:cubicBezTo>
                <a:cubicBezTo>
                  <a:pt x="1220898" y="947591"/>
                  <a:pt x="947591" y="1220898"/>
                  <a:pt x="610449" y="1220898"/>
                </a:cubicBezTo>
                <a:cubicBezTo>
                  <a:pt x="273307" y="1220898"/>
                  <a:pt x="0" y="947591"/>
                  <a:pt x="0" y="610449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1816" tIns="211816" rIns="211816" bIns="211816" numCol="1" spcCol="1270" anchor="ctr" anchorCtr="0">
            <a:noAutofit/>
          </a:bodyPr>
          <a:lstStyle/>
          <a:p>
            <a:pPr algn="ctr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9B53593-AC91-4860-98BA-61FD1E0C3EE8}"/>
              </a:ext>
            </a:extLst>
          </p:cNvPr>
          <p:cNvSpPr/>
          <p:nvPr/>
        </p:nvSpPr>
        <p:spPr>
          <a:xfrm>
            <a:off x="4817212" y="6054401"/>
            <a:ext cx="798296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1244600">
              <a:spcAft>
                <a:spcPct val="35000"/>
              </a:spcAft>
            </a:pPr>
            <a:r>
              <a:rPr lang="en-US" sz="1200" b="1" dirty="0"/>
              <a:t>Remote</a:t>
            </a:r>
            <a:br>
              <a:rPr lang="en-US" sz="1200" b="1" dirty="0"/>
            </a:br>
            <a:r>
              <a:rPr lang="en-US" sz="1200" b="1" dirty="0"/>
              <a:t>Monitoring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EE9F6626-AE47-49EB-BB6C-3A58E6FAAC46}"/>
              </a:ext>
            </a:extLst>
          </p:cNvPr>
          <p:cNvGrpSpPr/>
          <p:nvPr/>
        </p:nvGrpSpPr>
        <p:grpSpPr>
          <a:xfrm>
            <a:off x="8158998" y="4729977"/>
            <a:ext cx="903204" cy="919892"/>
            <a:chOff x="16346293" y="9716884"/>
            <a:chExt cx="1806407" cy="1839783"/>
          </a:xfrm>
        </p:grpSpPr>
        <p:sp>
          <p:nvSpPr>
            <p:cNvPr id="34" name="Freeform 144">
              <a:extLst>
                <a:ext uri="{FF2B5EF4-FFF2-40B4-BE49-F238E27FC236}">
                  <a16:creationId xmlns:a16="http://schemas.microsoft.com/office/drawing/2014/main" id="{516DA951-9D29-46A2-8F94-0839AA75018F}"/>
                </a:ext>
              </a:extLst>
            </p:cNvPr>
            <p:cNvSpPr/>
            <p:nvPr/>
          </p:nvSpPr>
          <p:spPr>
            <a:xfrm>
              <a:off x="16346293" y="9716884"/>
              <a:ext cx="1806407" cy="1839783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1816" tIns="211816" rIns="211816" bIns="211816" numCol="1" spcCol="1270" anchor="ctr" anchorCtr="0">
              <a:noAutofit/>
            </a:bodyPr>
            <a:lstStyle/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60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15DCE60-0DAD-469B-ACCC-A109E075FCC3}"/>
                </a:ext>
              </a:extLst>
            </p:cNvPr>
            <p:cNvSpPr/>
            <p:nvPr/>
          </p:nvSpPr>
          <p:spPr>
            <a:xfrm>
              <a:off x="16505213" y="10791791"/>
              <a:ext cx="1530161" cy="33239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12446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200" b="1" dirty="0"/>
                <a:t>Wearables</a:t>
              </a: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E575AC4-50F8-4D9A-A0B8-0391FF744E7E}"/>
                </a:ext>
              </a:extLst>
            </p:cNvPr>
            <p:cNvGrpSpPr/>
            <p:nvPr/>
          </p:nvGrpSpPr>
          <p:grpSpPr>
            <a:xfrm>
              <a:off x="16977451" y="9949869"/>
              <a:ext cx="544090" cy="862257"/>
              <a:chOff x="-2673350" y="1233485"/>
              <a:chExt cx="2406650" cy="3719509"/>
            </a:xfrm>
            <a:solidFill>
              <a:srgbClr val="44546A"/>
            </a:solidFill>
          </p:grpSpPr>
          <p:sp>
            <p:nvSpPr>
              <p:cNvPr id="37" name="Freeform 82">
                <a:extLst>
                  <a:ext uri="{FF2B5EF4-FFF2-40B4-BE49-F238E27FC236}">
                    <a16:creationId xmlns:a16="http://schemas.microsoft.com/office/drawing/2014/main" id="{29B8B2D0-7502-419C-A104-EFC3E6A1C8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200275" y="2598738"/>
                <a:ext cx="1309688" cy="1154113"/>
              </a:xfrm>
              <a:custGeom>
                <a:avLst/>
                <a:gdLst>
                  <a:gd name="T0" fmla="*/ 656 w 825"/>
                  <a:gd name="T1" fmla="*/ 130 h 727"/>
                  <a:gd name="T2" fmla="*/ 519 w 825"/>
                  <a:gd name="T3" fmla="*/ 61 h 727"/>
                  <a:gd name="T4" fmla="*/ 251 w 825"/>
                  <a:gd name="T5" fmla="*/ 42 h 727"/>
                  <a:gd name="T6" fmla="*/ 159 w 825"/>
                  <a:gd name="T7" fmla="*/ 220 h 727"/>
                  <a:gd name="T8" fmla="*/ 258 w 825"/>
                  <a:gd name="T9" fmla="*/ 272 h 727"/>
                  <a:gd name="T10" fmla="*/ 318 w 825"/>
                  <a:gd name="T11" fmla="*/ 161 h 727"/>
                  <a:gd name="T12" fmla="*/ 415 w 825"/>
                  <a:gd name="T13" fmla="*/ 168 h 727"/>
                  <a:gd name="T14" fmla="*/ 235 w 825"/>
                  <a:gd name="T15" fmla="*/ 514 h 727"/>
                  <a:gd name="T16" fmla="*/ 0 w 825"/>
                  <a:gd name="T17" fmla="*/ 623 h 727"/>
                  <a:gd name="T18" fmla="*/ 50 w 825"/>
                  <a:gd name="T19" fmla="*/ 727 h 727"/>
                  <a:gd name="T20" fmla="*/ 320 w 825"/>
                  <a:gd name="T21" fmla="*/ 599 h 727"/>
                  <a:gd name="T22" fmla="*/ 415 w 825"/>
                  <a:gd name="T23" fmla="*/ 417 h 727"/>
                  <a:gd name="T24" fmla="*/ 488 w 825"/>
                  <a:gd name="T25" fmla="*/ 454 h 727"/>
                  <a:gd name="T26" fmla="*/ 405 w 825"/>
                  <a:gd name="T27" fmla="*/ 618 h 727"/>
                  <a:gd name="T28" fmla="*/ 505 w 825"/>
                  <a:gd name="T29" fmla="*/ 668 h 727"/>
                  <a:gd name="T30" fmla="*/ 640 w 825"/>
                  <a:gd name="T31" fmla="*/ 402 h 727"/>
                  <a:gd name="T32" fmla="*/ 467 w 825"/>
                  <a:gd name="T33" fmla="*/ 315 h 727"/>
                  <a:gd name="T34" fmla="*/ 528 w 825"/>
                  <a:gd name="T35" fmla="*/ 194 h 727"/>
                  <a:gd name="T36" fmla="*/ 704 w 825"/>
                  <a:gd name="T37" fmla="*/ 281 h 727"/>
                  <a:gd name="T38" fmla="*/ 825 w 825"/>
                  <a:gd name="T39" fmla="*/ 52 h 727"/>
                  <a:gd name="T40" fmla="*/ 723 w 825"/>
                  <a:gd name="T41" fmla="*/ 0 h 727"/>
                  <a:gd name="T42" fmla="*/ 656 w 825"/>
                  <a:gd name="T43" fmla="*/ 130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25" h="727">
                    <a:moveTo>
                      <a:pt x="656" y="130"/>
                    </a:moveTo>
                    <a:lnTo>
                      <a:pt x="519" y="61"/>
                    </a:lnTo>
                    <a:lnTo>
                      <a:pt x="251" y="42"/>
                    </a:lnTo>
                    <a:lnTo>
                      <a:pt x="159" y="220"/>
                    </a:lnTo>
                    <a:lnTo>
                      <a:pt x="258" y="272"/>
                    </a:lnTo>
                    <a:lnTo>
                      <a:pt x="318" y="161"/>
                    </a:lnTo>
                    <a:lnTo>
                      <a:pt x="415" y="168"/>
                    </a:lnTo>
                    <a:lnTo>
                      <a:pt x="235" y="514"/>
                    </a:lnTo>
                    <a:lnTo>
                      <a:pt x="0" y="623"/>
                    </a:lnTo>
                    <a:lnTo>
                      <a:pt x="50" y="727"/>
                    </a:lnTo>
                    <a:lnTo>
                      <a:pt x="320" y="599"/>
                    </a:lnTo>
                    <a:lnTo>
                      <a:pt x="415" y="417"/>
                    </a:lnTo>
                    <a:lnTo>
                      <a:pt x="488" y="454"/>
                    </a:lnTo>
                    <a:lnTo>
                      <a:pt x="405" y="618"/>
                    </a:lnTo>
                    <a:lnTo>
                      <a:pt x="505" y="668"/>
                    </a:lnTo>
                    <a:lnTo>
                      <a:pt x="640" y="402"/>
                    </a:lnTo>
                    <a:lnTo>
                      <a:pt x="467" y="315"/>
                    </a:lnTo>
                    <a:lnTo>
                      <a:pt x="528" y="194"/>
                    </a:lnTo>
                    <a:lnTo>
                      <a:pt x="704" y="281"/>
                    </a:lnTo>
                    <a:lnTo>
                      <a:pt x="825" y="52"/>
                    </a:lnTo>
                    <a:lnTo>
                      <a:pt x="723" y="0"/>
                    </a:lnTo>
                    <a:lnTo>
                      <a:pt x="656" y="1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8" name="Oval 83">
                <a:extLst>
                  <a:ext uri="{FF2B5EF4-FFF2-40B4-BE49-F238E27FC236}">
                    <a16:creationId xmlns:a16="http://schemas.microsoft.com/office/drawing/2014/main" id="{B5F1BAAD-5B26-4136-8610-84356067E8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03350" y="2425701"/>
                <a:ext cx="241300" cy="239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39" name="Freeform 84">
                <a:extLst>
                  <a:ext uri="{FF2B5EF4-FFF2-40B4-BE49-F238E27FC236}">
                    <a16:creationId xmlns:a16="http://schemas.microsoft.com/office/drawing/2014/main" id="{2623E19C-B957-4ECB-A704-6B02F44A29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673350" y="1233485"/>
                <a:ext cx="2406650" cy="3719509"/>
              </a:xfrm>
              <a:custGeom>
                <a:avLst/>
                <a:gdLst>
                  <a:gd name="T0" fmla="*/ 640 w 640"/>
                  <a:gd name="T1" fmla="*/ 423 h 989"/>
                  <a:gd name="T2" fmla="*/ 640 w 640"/>
                  <a:gd name="T3" fmla="*/ 319 h 989"/>
                  <a:gd name="T4" fmla="*/ 592 w 640"/>
                  <a:gd name="T5" fmla="*/ 319 h 989"/>
                  <a:gd name="T6" fmla="*/ 592 w 640"/>
                  <a:gd name="T7" fmla="*/ 238 h 989"/>
                  <a:gd name="T8" fmla="*/ 515 w 640"/>
                  <a:gd name="T9" fmla="*/ 160 h 989"/>
                  <a:gd name="T10" fmla="*/ 487 w 640"/>
                  <a:gd name="T11" fmla="*/ 160 h 989"/>
                  <a:gd name="T12" fmla="*/ 469 w 640"/>
                  <a:gd name="T13" fmla="*/ 48 h 989"/>
                  <a:gd name="T14" fmla="*/ 412 w 640"/>
                  <a:gd name="T15" fmla="*/ 0 h 989"/>
                  <a:gd name="T16" fmla="*/ 182 w 640"/>
                  <a:gd name="T17" fmla="*/ 0 h 989"/>
                  <a:gd name="T18" fmla="*/ 125 w 640"/>
                  <a:gd name="T19" fmla="*/ 48 h 989"/>
                  <a:gd name="T20" fmla="*/ 107 w 640"/>
                  <a:gd name="T21" fmla="*/ 160 h 989"/>
                  <a:gd name="T22" fmla="*/ 77 w 640"/>
                  <a:gd name="T23" fmla="*/ 160 h 989"/>
                  <a:gd name="T24" fmla="*/ 0 w 640"/>
                  <a:gd name="T25" fmla="*/ 238 h 989"/>
                  <a:gd name="T26" fmla="*/ 0 w 640"/>
                  <a:gd name="T27" fmla="*/ 754 h 989"/>
                  <a:gd name="T28" fmla="*/ 77 w 640"/>
                  <a:gd name="T29" fmla="*/ 832 h 989"/>
                  <a:gd name="T30" fmla="*/ 108 w 640"/>
                  <a:gd name="T31" fmla="*/ 832 h 989"/>
                  <a:gd name="T32" fmla="*/ 125 w 640"/>
                  <a:gd name="T33" fmla="*/ 941 h 989"/>
                  <a:gd name="T34" fmla="*/ 182 w 640"/>
                  <a:gd name="T35" fmla="*/ 989 h 989"/>
                  <a:gd name="T36" fmla="*/ 412 w 640"/>
                  <a:gd name="T37" fmla="*/ 989 h 989"/>
                  <a:gd name="T38" fmla="*/ 469 w 640"/>
                  <a:gd name="T39" fmla="*/ 941 h 989"/>
                  <a:gd name="T40" fmla="*/ 486 w 640"/>
                  <a:gd name="T41" fmla="*/ 832 h 989"/>
                  <a:gd name="T42" fmla="*/ 515 w 640"/>
                  <a:gd name="T43" fmla="*/ 832 h 989"/>
                  <a:gd name="T44" fmla="*/ 592 w 640"/>
                  <a:gd name="T45" fmla="*/ 754 h 989"/>
                  <a:gd name="T46" fmla="*/ 592 w 640"/>
                  <a:gd name="T47" fmla="*/ 666 h 989"/>
                  <a:gd name="T48" fmla="*/ 640 w 640"/>
                  <a:gd name="T49" fmla="*/ 666 h 989"/>
                  <a:gd name="T50" fmla="*/ 640 w 640"/>
                  <a:gd name="T51" fmla="*/ 514 h 989"/>
                  <a:gd name="T52" fmla="*/ 592 w 640"/>
                  <a:gd name="T53" fmla="*/ 514 h 989"/>
                  <a:gd name="T54" fmla="*/ 592 w 640"/>
                  <a:gd name="T55" fmla="*/ 423 h 989"/>
                  <a:gd name="T56" fmla="*/ 640 w 640"/>
                  <a:gd name="T57" fmla="*/ 423 h 989"/>
                  <a:gd name="T58" fmla="*/ 173 w 640"/>
                  <a:gd name="T59" fmla="*/ 56 h 989"/>
                  <a:gd name="T60" fmla="*/ 182 w 640"/>
                  <a:gd name="T61" fmla="*/ 48 h 989"/>
                  <a:gd name="T62" fmla="*/ 412 w 640"/>
                  <a:gd name="T63" fmla="*/ 48 h 989"/>
                  <a:gd name="T64" fmla="*/ 421 w 640"/>
                  <a:gd name="T65" fmla="*/ 56 h 989"/>
                  <a:gd name="T66" fmla="*/ 438 w 640"/>
                  <a:gd name="T67" fmla="*/ 160 h 989"/>
                  <a:gd name="T68" fmla="*/ 156 w 640"/>
                  <a:gd name="T69" fmla="*/ 160 h 989"/>
                  <a:gd name="T70" fmla="*/ 173 w 640"/>
                  <a:gd name="T71" fmla="*/ 56 h 989"/>
                  <a:gd name="T72" fmla="*/ 421 w 640"/>
                  <a:gd name="T73" fmla="*/ 934 h 989"/>
                  <a:gd name="T74" fmla="*/ 412 w 640"/>
                  <a:gd name="T75" fmla="*/ 941 h 989"/>
                  <a:gd name="T76" fmla="*/ 182 w 640"/>
                  <a:gd name="T77" fmla="*/ 941 h 989"/>
                  <a:gd name="T78" fmla="*/ 173 w 640"/>
                  <a:gd name="T79" fmla="*/ 934 h 989"/>
                  <a:gd name="T80" fmla="*/ 156 w 640"/>
                  <a:gd name="T81" fmla="*/ 832 h 989"/>
                  <a:gd name="T82" fmla="*/ 438 w 640"/>
                  <a:gd name="T83" fmla="*/ 832 h 989"/>
                  <a:gd name="T84" fmla="*/ 421 w 640"/>
                  <a:gd name="T85" fmla="*/ 934 h 989"/>
                  <a:gd name="T86" fmla="*/ 544 w 640"/>
                  <a:gd name="T87" fmla="*/ 754 h 989"/>
                  <a:gd name="T88" fmla="*/ 515 w 640"/>
                  <a:gd name="T89" fmla="*/ 784 h 989"/>
                  <a:gd name="T90" fmla="*/ 77 w 640"/>
                  <a:gd name="T91" fmla="*/ 784 h 989"/>
                  <a:gd name="T92" fmla="*/ 48 w 640"/>
                  <a:gd name="T93" fmla="*/ 754 h 989"/>
                  <a:gd name="T94" fmla="*/ 48 w 640"/>
                  <a:gd name="T95" fmla="*/ 238 h 989"/>
                  <a:gd name="T96" fmla="*/ 77 w 640"/>
                  <a:gd name="T97" fmla="*/ 208 h 989"/>
                  <a:gd name="T98" fmla="*/ 515 w 640"/>
                  <a:gd name="T99" fmla="*/ 208 h 989"/>
                  <a:gd name="T100" fmla="*/ 544 w 640"/>
                  <a:gd name="T101" fmla="*/ 238 h 989"/>
                  <a:gd name="T102" fmla="*/ 544 w 640"/>
                  <a:gd name="T103" fmla="*/ 754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40" h="989">
                    <a:moveTo>
                      <a:pt x="640" y="423"/>
                    </a:moveTo>
                    <a:cubicBezTo>
                      <a:pt x="640" y="319"/>
                      <a:pt x="640" y="319"/>
                      <a:pt x="640" y="319"/>
                    </a:cubicBezTo>
                    <a:cubicBezTo>
                      <a:pt x="592" y="319"/>
                      <a:pt x="592" y="319"/>
                      <a:pt x="592" y="319"/>
                    </a:cubicBezTo>
                    <a:cubicBezTo>
                      <a:pt x="592" y="238"/>
                      <a:pt x="592" y="238"/>
                      <a:pt x="592" y="238"/>
                    </a:cubicBezTo>
                    <a:cubicBezTo>
                      <a:pt x="592" y="195"/>
                      <a:pt x="558" y="160"/>
                      <a:pt x="515" y="160"/>
                    </a:cubicBezTo>
                    <a:cubicBezTo>
                      <a:pt x="487" y="160"/>
                      <a:pt x="487" y="160"/>
                      <a:pt x="487" y="160"/>
                    </a:cubicBezTo>
                    <a:cubicBezTo>
                      <a:pt x="469" y="48"/>
                      <a:pt x="469" y="48"/>
                      <a:pt x="469" y="48"/>
                    </a:cubicBezTo>
                    <a:cubicBezTo>
                      <a:pt x="464" y="20"/>
                      <a:pt x="441" y="0"/>
                      <a:pt x="412" y="0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153" y="0"/>
                      <a:pt x="130" y="20"/>
                      <a:pt x="125" y="48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77" y="160"/>
                      <a:pt x="77" y="160"/>
                      <a:pt x="77" y="160"/>
                    </a:cubicBezTo>
                    <a:cubicBezTo>
                      <a:pt x="35" y="160"/>
                      <a:pt x="0" y="195"/>
                      <a:pt x="0" y="238"/>
                    </a:cubicBezTo>
                    <a:cubicBezTo>
                      <a:pt x="0" y="754"/>
                      <a:pt x="0" y="754"/>
                      <a:pt x="0" y="754"/>
                    </a:cubicBezTo>
                    <a:cubicBezTo>
                      <a:pt x="0" y="797"/>
                      <a:pt x="35" y="832"/>
                      <a:pt x="77" y="832"/>
                    </a:cubicBezTo>
                    <a:cubicBezTo>
                      <a:pt x="108" y="832"/>
                      <a:pt x="108" y="832"/>
                      <a:pt x="108" y="832"/>
                    </a:cubicBezTo>
                    <a:cubicBezTo>
                      <a:pt x="125" y="941"/>
                      <a:pt x="125" y="941"/>
                      <a:pt x="125" y="941"/>
                    </a:cubicBezTo>
                    <a:cubicBezTo>
                      <a:pt x="130" y="969"/>
                      <a:pt x="153" y="989"/>
                      <a:pt x="182" y="989"/>
                    </a:cubicBezTo>
                    <a:cubicBezTo>
                      <a:pt x="412" y="989"/>
                      <a:pt x="412" y="989"/>
                      <a:pt x="412" y="989"/>
                    </a:cubicBezTo>
                    <a:cubicBezTo>
                      <a:pt x="441" y="989"/>
                      <a:pt x="464" y="969"/>
                      <a:pt x="469" y="941"/>
                    </a:cubicBezTo>
                    <a:cubicBezTo>
                      <a:pt x="486" y="832"/>
                      <a:pt x="486" y="832"/>
                      <a:pt x="486" y="832"/>
                    </a:cubicBezTo>
                    <a:cubicBezTo>
                      <a:pt x="515" y="832"/>
                      <a:pt x="515" y="832"/>
                      <a:pt x="515" y="832"/>
                    </a:cubicBezTo>
                    <a:cubicBezTo>
                      <a:pt x="558" y="832"/>
                      <a:pt x="592" y="797"/>
                      <a:pt x="592" y="754"/>
                    </a:cubicBezTo>
                    <a:cubicBezTo>
                      <a:pt x="592" y="666"/>
                      <a:pt x="592" y="666"/>
                      <a:pt x="592" y="666"/>
                    </a:cubicBezTo>
                    <a:cubicBezTo>
                      <a:pt x="640" y="666"/>
                      <a:pt x="640" y="666"/>
                      <a:pt x="640" y="666"/>
                    </a:cubicBezTo>
                    <a:cubicBezTo>
                      <a:pt x="640" y="514"/>
                      <a:pt x="640" y="514"/>
                      <a:pt x="640" y="514"/>
                    </a:cubicBezTo>
                    <a:cubicBezTo>
                      <a:pt x="592" y="514"/>
                      <a:pt x="592" y="514"/>
                      <a:pt x="592" y="514"/>
                    </a:cubicBezTo>
                    <a:cubicBezTo>
                      <a:pt x="592" y="423"/>
                      <a:pt x="592" y="423"/>
                      <a:pt x="592" y="423"/>
                    </a:cubicBezTo>
                    <a:lnTo>
                      <a:pt x="640" y="423"/>
                    </a:lnTo>
                    <a:close/>
                    <a:moveTo>
                      <a:pt x="173" y="56"/>
                    </a:moveTo>
                    <a:cubicBezTo>
                      <a:pt x="173" y="51"/>
                      <a:pt x="177" y="48"/>
                      <a:pt x="182" y="48"/>
                    </a:cubicBezTo>
                    <a:cubicBezTo>
                      <a:pt x="412" y="48"/>
                      <a:pt x="412" y="48"/>
                      <a:pt x="412" y="48"/>
                    </a:cubicBezTo>
                    <a:cubicBezTo>
                      <a:pt x="417" y="48"/>
                      <a:pt x="421" y="51"/>
                      <a:pt x="421" y="56"/>
                    </a:cubicBezTo>
                    <a:cubicBezTo>
                      <a:pt x="438" y="160"/>
                      <a:pt x="438" y="160"/>
                      <a:pt x="438" y="160"/>
                    </a:cubicBezTo>
                    <a:cubicBezTo>
                      <a:pt x="156" y="160"/>
                      <a:pt x="156" y="160"/>
                      <a:pt x="156" y="160"/>
                    </a:cubicBezTo>
                    <a:lnTo>
                      <a:pt x="173" y="56"/>
                    </a:lnTo>
                    <a:close/>
                    <a:moveTo>
                      <a:pt x="421" y="934"/>
                    </a:moveTo>
                    <a:cubicBezTo>
                      <a:pt x="421" y="938"/>
                      <a:pt x="417" y="941"/>
                      <a:pt x="412" y="941"/>
                    </a:cubicBezTo>
                    <a:cubicBezTo>
                      <a:pt x="182" y="941"/>
                      <a:pt x="182" y="941"/>
                      <a:pt x="182" y="941"/>
                    </a:cubicBezTo>
                    <a:cubicBezTo>
                      <a:pt x="177" y="941"/>
                      <a:pt x="173" y="938"/>
                      <a:pt x="173" y="934"/>
                    </a:cubicBezTo>
                    <a:cubicBezTo>
                      <a:pt x="156" y="832"/>
                      <a:pt x="156" y="832"/>
                      <a:pt x="156" y="832"/>
                    </a:cubicBezTo>
                    <a:cubicBezTo>
                      <a:pt x="438" y="832"/>
                      <a:pt x="438" y="832"/>
                      <a:pt x="438" y="832"/>
                    </a:cubicBezTo>
                    <a:lnTo>
                      <a:pt x="421" y="934"/>
                    </a:lnTo>
                    <a:close/>
                    <a:moveTo>
                      <a:pt x="544" y="754"/>
                    </a:moveTo>
                    <a:cubicBezTo>
                      <a:pt x="544" y="770"/>
                      <a:pt x="531" y="784"/>
                      <a:pt x="515" y="784"/>
                    </a:cubicBezTo>
                    <a:cubicBezTo>
                      <a:pt x="77" y="784"/>
                      <a:pt x="77" y="784"/>
                      <a:pt x="77" y="784"/>
                    </a:cubicBezTo>
                    <a:cubicBezTo>
                      <a:pt x="61" y="784"/>
                      <a:pt x="48" y="770"/>
                      <a:pt x="48" y="754"/>
                    </a:cubicBezTo>
                    <a:cubicBezTo>
                      <a:pt x="48" y="238"/>
                      <a:pt x="48" y="238"/>
                      <a:pt x="48" y="238"/>
                    </a:cubicBezTo>
                    <a:cubicBezTo>
                      <a:pt x="48" y="221"/>
                      <a:pt x="61" y="208"/>
                      <a:pt x="77" y="208"/>
                    </a:cubicBezTo>
                    <a:cubicBezTo>
                      <a:pt x="515" y="208"/>
                      <a:pt x="515" y="208"/>
                      <a:pt x="515" y="208"/>
                    </a:cubicBezTo>
                    <a:cubicBezTo>
                      <a:pt x="531" y="208"/>
                      <a:pt x="544" y="221"/>
                      <a:pt x="544" y="238"/>
                    </a:cubicBezTo>
                    <a:lnTo>
                      <a:pt x="544" y="7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D14B7E9-FB07-4DD8-98B8-1B5299F69778}"/>
              </a:ext>
            </a:extLst>
          </p:cNvPr>
          <p:cNvGrpSpPr/>
          <p:nvPr/>
        </p:nvGrpSpPr>
        <p:grpSpPr>
          <a:xfrm>
            <a:off x="8528053" y="2858315"/>
            <a:ext cx="868645" cy="868645"/>
            <a:chOff x="17295325" y="7909967"/>
            <a:chExt cx="1737289" cy="1737289"/>
          </a:xfrm>
        </p:grpSpPr>
        <p:sp>
          <p:nvSpPr>
            <p:cNvPr id="13" name="Freeform 140">
              <a:extLst>
                <a:ext uri="{FF2B5EF4-FFF2-40B4-BE49-F238E27FC236}">
                  <a16:creationId xmlns:a16="http://schemas.microsoft.com/office/drawing/2014/main" id="{328F10A2-54A9-4336-AEAE-80E0EBC8B62B}"/>
                </a:ext>
              </a:extLst>
            </p:cNvPr>
            <p:cNvSpPr/>
            <p:nvPr/>
          </p:nvSpPr>
          <p:spPr>
            <a:xfrm>
              <a:off x="17295325" y="7909967"/>
              <a:ext cx="1737289" cy="1737289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1816" tIns="211816" rIns="211816" bIns="211816" numCol="1" spcCol="1270" anchor="ctr" anchorCtr="0">
              <a:noAutofit/>
            </a:bodyPr>
            <a:lstStyle/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60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85CC933-8C69-4CC5-827A-AC86CB69A1E4}"/>
                </a:ext>
              </a:extLst>
            </p:cNvPr>
            <p:cNvSpPr/>
            <p:nvPr/>
          </p:nvSpPr>
          <p:spPr>
            <a:xfrm>
              <a:off x="17606879" y="8869722"/>
              <a:ext cx="1215077" cy="66479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12446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200" b="1" dirty="0"/>
                <a:t>Medical </a:t>
              </a:r>
              <a:br>
                <a:rPr lang="en-US" sz="1200" b="1" dirty="0"/>
              </a:br>
              <a:r>
                <a:rPr lang="en-US" sz="1200" b="1" dirty="0"/>
                <a:t>Devices</a:t>
              </a: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135C8758-1DA3-4D45-883F-3CA65308E8CD}"/>
                </a:ext>
              </a:extLst>
            </p:cNvPr>
            <p:cNvGrpSpPr/>
            <p:nvPr/>
          </p:nvGrpSpPr>
          <p:grpSpPr>
            <a:xfrm>
              <a:off x="17896547" y="8110979"/>
              <a:ext cx="486060" cy="739768"/>
              <a:chOff x="-2651126" y="1468438"/>
              <a:chExt cx="2493963" cy="3368675"/>
            </a:xfrm>
            <a:solidFill>
              <a:srgbClr val="1D6FA9"/>
            </a:solidFill>
          </p:grpSpPr>
          <p:sp>
            <p:nvSpPr>
              <p:cNvPr id="51" name="Freeform 160">
                <a:extLst>
                  <a:ext uri="{FF2B5EF4-FFF2-40B4-BE49-F238E27FC236}">
                    <a16:creationId xmlns:a16="http://schemas.microsoft.com/office/drawing/2014/main" id="{0E7284E7-6A91-44E9-A790-E7334072AF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651126" y="1468438"/>
                <a:ext cx="2493963" cy="3368675"/>
              </a:xfrm>
              <a:custGeom>
                <a:avLst/>
                <a:gdLst>
                  <a:gd name="T0" fmla="*/ 593 w 663"/>
                  <a:gd name="T1" fmla="*/ 0 h 896"/>
                  <a:gd name="T2" fmla="*/ 70 w 663"/>
                  <a:gd name="T3" fmla="*/ 0 h 896"/>
                  <a:gd name="T4" fmla="*/ 0 w 663"/>
                  <a:gd name="T5" fmla="*/ 70 h 896"/>
                  <a:gd name="T6" fmla="*/ 0 w 663"/>
                  <a:gd name="T7" fmla="*/ 826 h 896"/>
                  <a:gd name="T8" fmla="*/ 70 w 663"/>
                  <a:gd name="T9" fmla="*/ 896 h 896"/>
                  <a:gd name="T10" fmla="*/ 593 w 663"/>
                  <a:gd name="T11" fmla="*/ 896 h 896"/>
                  <a:gd name="T12" fmla="*/ 663 w 663"/>
                  <a:gd name="T13" fmla="*/ 826 h 896"/>
                  <a:gd name="T14" fmla="*/ 663 w 663"/>
                  <a:gd name="T15" fmla="*/ 70 h 896"/>
                  <a:gd name="T16" fmla="*/ 593 w 663"/>
                  <a:gd name="T17" fmla="*/ 0 h 896"/>
                  <a:gd name="T18" fmla="*/ 615 w 663"/>
                  <a:gd name="T19" fmla="*/ 826 h 896"/>
                  <a:gd name="T20" fmla="*/ 593 w 663"/>
                  <a:gd name="T21" fmla="*/ 848 h 896"/>
                  <a:gd name="T22" fmla="*/ 70 w 663"/>
                  <a:gd name="T23" fmla="*/ 848 h 896"/>
                  <a:gd name="T24" fmla="*/ 48 w 663"/>
                  <a:gd name="T25" fmla="*/ 826 h 896"/>
                  <a:gd name="T26" fmla="*/ 48 w 663"/>
                  <a:gd name="T27" fmla="*/ 70 h 896"/>
                  <a:gd name="T28" fmla="*/ 70 w 663"/>
                  <a:gd name="T29" fmla="*/ 48 h 896"/>
                  <a:gd name="T30" fmla="*/ 593 w 663"/>
                  <a:gd name="T31" fmla="*/ 48 h 896"/>
                  <a:gd name="T32" fmla="*/ 615 w 663"/>
                  <a:gd name="T33" fmla="*/ 70 h 896"/>
                  <a:gd name="T34" fmla="*/ 615 w 663"/>
                  <a:gd name="T35" fmla="*/ 826 h 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3" h="896">
                    <a:moveTo>
                      <a:pt x="593" y="0"/>
                    </a:moveTo>
                    <a:cubicBezTo>
                      <a:pt x="70" y="0"/>
                      <a:pt x="70" y="0"/>
                      <a:pt x="70" y="0"/>
                    </a:cubicBezTo>
                    <a:cubicBezTo>
                      <a:pt x="31" y="0"/>
                      <a:pt x="0" y="31"/>
                      <a:pt x="0" y="70"/>
                    </a:cubicBezTo>
                    <a:cubicBezTo>
                      <a:pt x="0" y="826"/>
                      <a:pt x="0" y="826"/>
                      <a:pt x="0" y="826"/>
                    </a:cubicBezTo>
                    <a:cubicBezTo>
                      <a:pt x="0" y="865"/>
                      <a:pt x="31" y="896"/>
                      <a:pt x="70" y="896"/>
                    </a:cubicBezTo>
                    <a:cubicBezTo>
                      <a:pt x="593" y="896"/>
                      <a:pt x="593" y="896"/>
                      <a:pt x="593" y="896"/>
                    </a:cubicBezTo>
                    <a:cubicBezTo>
                      <a:pt x="632" y="896"/>
                      <a:pt x="663" y="865"/>
                      <a:pt x="663" y="826"/>
                    </a:cubicBezTo>
                    <a:cubicBezTo>
                      <a:pt x="663" y="70"/>
                      <a:pt x="663" y="70"/>
                      <a:pt x="663" y="70"/>
                    </a:cubicBezTo>
                    <a:cubicBezTo>
                      <a:pt x="663" y="31"/>
                      <a:pt x="632" y="0"/>
                      <a:pt x="593" y="0"/>
                    </a:cubicBezTo>
                    <a:close/>
                    <a:moveTo>
                      <a:pt x="615" y="826"/>
                    </a:moveTo>
                    <a:cubicBezTo>
                      <a:pt x="615" y="838"/>
                      <a:pt x="605" y="848"/>
                      <a:pt x="593" y="848"/>
                    </a:cubicBezTo>
                    <a:cubicBezTo>
                      <a:pt x="70" y="848"/>
                      <a:pt x="70" y="848"/>
                      <a:pt x="70" y="848"/>
                    </a:cubicBezTo>
                    <a:cubicBezTo>
                      <a:pt x="58" y="848"/>
                      <a:pt x="48" y="838"/>
                      <a:pt x="48" y="826"/>
                    </a:cubicBezTo>
                    <a:cubicBezTo>
                      <a:pt x="48" y="70"/>
                      <a:pt x="48" y="70"/>
                      <a:pt x="48" y="70"/>
                    </a:cubicBezTo>
                    <a:cubicBezTo>
                      <a:pt x="48" y="58"/>
                      <a:pt x="58" y="48"/>
                      <a:pt x="70" y="48"/>
                    </a:cubicBezTo>
                    <a:cubicBezTo>
                      <a:pt x="593" y="48"/>
                      <a:pt x="593" y="48"/>
                      <a:pt x="593" y="48"/>
                    </a:cubicBezTo>
                    <a:cubicBezTo>
                      <a:pt x="605" y="48"/>
                      <a:pt x="615" y="58"/>
                      <a:pt x="615" y="70"/>
                    </a:cubicBezTo>
                    <a:lnTo>
                      <a:pt x="615" y="826"/>
                    </a:lnTo>
                    <a:close/>
                  </a:path>
                </a:pathLst>
              </a:custGeom>
              <a:grpFill/>
              <a:ln w="9525">
                <a:solidFill>
                  <a:srgbClr val="CCCCCC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52" name="Freeform 161">
                <a:extLst>
                  <a:ext uri="{FF2B5EF4-FFF2-40B4-BE49-F238E27FC236}">
                    <a16:creationId xmlns:a16="http://schemas.microsoft.com/office/drawing/2014/main" id="{54FEA85E-FE2A-46BA-B68F-6289E501A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657351" y="4294188"/>
                <a:ext cx="508000" cy="180975"/>
              </a:xfrm>
              <a:custGeom>
                <a:avLst/>
                <a:gdLst>
                  <a:gd name="T0" fmla="*/ 111 w 135"/>
                  <a:gd name="T1" fmla="*/ 0 h 48"/>
                  <a:gd name="T2" fmla="*/ 24 w 135"/>
                  <a:gd name="T3" fmla="*/ 0 h 48"/>
                  <a:gd name="T4" fmla="*/ 0 w 135"/>
                  <a:gd name="T5" fmla="*/ 24 h 48"/>
                  <a:gd name="T6" fmla="*/ 24 w 135"/>
                  <a:gd name="T7" fmla="*/ 48 h 48"/>
                  <a:gd name="T8" fmla="*/ 111 w 135"/>
                  <a:gd name="T9" fmla="*/ 48 h 48"/>
                  <a:gd name="T10" fmla="*/ 135 w 135"/>
                  <a:gd name="T11" fmla="*/ 24 h 48"/>
                  <a:gd name="T12" fmla="*/ 111 w 135"/>
                  <a:gd name="T1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" h="48">
                    <a:moveTo>
                      <a:pt x="111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111" y="48"/>
                      <a:pt x="111" y="48"/>
                      <a:pt x="111" y="48"/>
                    </a:cubicBezTo>
                    <a:cubicBezTo>
                      <a:pt x="124" y="48"/>
                      <a:pt x="135" y="37"/>
                      <a:pt x="135" y="24"/>
                    </a:cubicBezTo>
                    <a:cubicBezTo>
                      <a:pt x="135" y="11"/>
                      <a:pt x="124" y="0"/>
                      <a:pt x="111" y="0"/>
                    </a:cubicBezTo>
                    <a:close/>
                  </a:path>
                </a:pathLst>
              </a:custGeom>
              <a:grpFill/>
              <a:ln w="9525">
                <a:solidFill>
                  <a:srgbClr val="CCCCCC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  <p:sp>
            <p:nvSpPr>
              <p:cNvPr id="53" name="Freeform 162">
                <a:extLst>
                  <a:ext uri="{FF2B5EF4-FFF2-40B4-BE49-F238E27FC236}">
                    <a16:creationId xmlns:a16="http://schemas.microsoft.com/office/drawing/2014/main" id="{BE2C18F8-E521-4B42-8C42-9990978047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270126" y="1851026"/>
                <a:ext cx="1733550" cy="2263775"/>
              </a:xfrm>
              <a:custGeom>
                <a:avLst/>
                <a:gdLst>
                  <a:gd name="T0" fmla="*/ 0 w 461"/>
                  <a:gd name="T1" fmla="*/ 602 h 602"/>
                  <a:gd name="T2" fmla="*/ 461 w 461"/>
                  <a:gd name="T3" fmla="*/ 602 h 602"/>
                  <a:gd name="T4" fmla="*/ 461 w 461"/>
                  <a:gd name="T5" fmla="*/ 0 h 602"/>
                  <a:gd name="T6" fmla="*/ 0 w 461"/>
                  <a:gd name="T7" fmla="*/ 0 h 602"/>
                  <a:gd name="T8" fmla="*/ 0 w 461"/>
                  <a:gd name="T9" fmla="*/ 602 h 602"/>
                  <a:gd name="T10" fmla="*/ 48 w 461"/>
                  <a:gd name="T11" fmla="*/ 554 h 602"/>
                  <a:gd name="T12" fmla="*/ 48 w 461"/>
                  <a:gd name="T13" fmla="*/ 330 h 602"/>
                  <a:gd name="T14" fmla="*/ 151 w 461"/>
                  <a:gd name="T15" fmla="*/ 330 h 602"/>
                  <a:gd name="T16" fmla="*/ 174 w 461"/>
                  <a:gd name="T17" fmla="*/ 312 h 602"/>
                  <a:gd name="T18" fmla="*/ 192 w 461"/>
                  <a:gd name="T19" fmla="*/ 237 h 602"/>
                  <a:gd name="T20" fmla="*/ 252 w 461"/>
                  <a:gd name="T21" fmla="*/ 479 h 602"/>
                  <a:gd name="T22" fmla="*/ 275 w 461"/>
                  <a:gd name="T23" fmla="*/ 497 h 602"/>
                  <a:gd name="T24" fmla="*/ 275 w 461"/>
                  <a:gd name="T25" fmla="*/ 497 h 602"/>
                  <a:gd name="T26" fmla="*/ 298 w 461"/>
                  <a:gd name="T27" fmla="*/ 479 h 602"/>
                  <a:gd name="T28" fmla="*/ 337 w 461"/>
                  <a:gd name="T29" fmla="*/ 328 h 602"/>
                  <a:gd name="T30" fmla="*/ 413 w 461"/>
                  <a:gd name="T31" fmla="*/ 328 h 602"/>
                  <a:gd name="T32" fmla="*/ 413 w 461"/>
                  <a:gd name="T33" fmla="*/ 554 h 602"/>
                  <a:gd name="T34" fmla="*/ 48 w 461"/>
                  <a:gd name="T35" fmla="*/ 554 h 602"/>
                  <a:gd name="T36" fmla="*/ 413 w 461"/>
                  <a:gd name="T37" fmla="*/ 48 h 602"/>
                  <a:gd name="T38" fmla="*/ 413 w 461"/>
                  <a:gd name="T39" fmla="*/ 280 h 602"/>
                  <a:gd name="T40" fmla="*/ 318 w 461"/>
                  <a:gd name="T41" fmla="*/ 280 h 602"/>
                  <a:gd name="T42" fmla="*/ 295 w 461"/>
                  <a:gd name="T43" fmla="*/ 298 h 602"/>
                  <a:gd name="T44" fmla="*/ 275 w 461"/>
                  <a:gd name="T45" fmla="*/ 374 h 602"/>
                  <a:gd name="T46" fmla="*/ 215 w 461"/>
                  <a:gd name="T47" fmla="*/ 129 h 602"/>
                  <a:gd name="T48" fmla="*/ 192 w 461"/>
                  <a:gd name="T49" fmla="*/ 110 h 602"/>
                  <a:gd name="T50" fmla="*/ 191 w 461"/>
                  <a:gd name="T51" fmla="*/ 110 h 602"/>
                  <a:gd name="T52" fmla="*/ 168 w 461"/>
                  <a:gd name="T53" fmla="*/ 129 h 602"/>
                  <a:gd name="T54" fmla="*/ 132 w 461"/>
                  <a:gd name="T55" fmla="*/ 282 h 602"/>
                  <a:gd name="T56" fmla="*/ 48 w 461"/>
                  <a:gd name="T57" fmla="*/ 282 h 602"/>
                  <a:gd name="T58" fmla="*/ 48 w 461"/>
                  <a:gd name="T59" fmla="*/ 48 h 602"/>
                  <a:gd name="T60" fmla="*/ 413 w 461"/>
                  <a:gd name="T61" fmla="*/ 48 h 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1" h="602">
                    <a:moveTo>
                      <a:pt x="0" y="602"/>
                    </a:moveTo>
                    <a:cubicBezTo>
                      <a:pt x="461" y="602"/>
                      <a:pt x="461" y="602"/>
                      <a:pt x="461" y="602"/>
                    </a:cubicBezTo>
                    <a:cubicBezTo>
                      <a:pt x="461" y="0"/>
                      <a:pt x="461" y="0"/>
                      <a:pt x="46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602"/>
                    </a:lnTo>
                    <a:close/>
                    <a:moveTo>
                      <a:pt x="48" y="554"/>
                    </a:moveTo>
                    <a:cubicBezTo>
                      <a:pt x="48" y="330"/>
                      <a:pt x="48" y="330"/>
                      <a:pt x="48" y="330"/>
                    </a:cubicBezTo>
                    <a:cubicBezTo>
                      <a:pt x="151" y="330"/>
                      <a:pt x="151" y="330"/>
                      <a:pt x="151" y="330"/>
                    </a:cubicBezTo>
                    <a:cubicBezTo>
                      <a:pt x="162" y="330"/>
                      <a:pt x="172" y="323"/>
                      <a:pt x="174" y="312"/>
                    </a:cubicBezTo>
                    <a:cubicBezTo>
                      <a:pt x="192" y="237"/>
                      <a:pt x="192" y="237"/>
                      <a:pt x="192" y="237"/>
                    </a:cubicBezTo>
                    <a:cubicBezTo>
                      <a:pt x="252" y="479"/>
                      <a:pt x="252" y="479"/>
                      <a:pt x="252" y="479"/>
                    </a:cubicBezTo>
                    <a:cubicBezTo>
                      <a:pt x="254" y="490"/>
                      <a:pt x="264" y="497"/>
                      <a:pt x="275" y="497"/>
                    </a:cubicBezTo>
                    <a:cubicBezTo>
                      <a:pt x="275" y="497"/>
                      <a:pt x="275" y="497"/>
                      <a:pt x="275" y="497"/>
                    </a:cubicBezTo>
                    <a:cubicBezTo>
                      <a:pt x="286" y="497"/>
                      <a:pt x="296" y="490"/>
                      <a:pt x="298" y="479"/>
                    </a:cubicBezTo>
                    <a:cubicBezTo>
                      <a:pt x="337" y="328"/>
                      <a:pt x="337" y="328"/>
                      <a:pt x="337" y="328"/>
                    </a:cubicBezTo>
                    <a:cubicBezTo>
                      <a:pt x="413" y="328"/>
                      <a:pt x="413" y="328"/>
                      <a:pt x="413" y="328"/>
                    </a:cubicBezTo>
                    <a:cubicBezTo>
                      <a:pt x="413" y="554"/>
                      <a:pt x="413" y="554"/>
                      <a:pt x="413" y="554"/>
                    </a:cubicBezTo>
                    <a:lnTo>
                      <a:pt x="48" y="554"/>
                    </a:lnTo>
                    <a:close/>
                    <a:moveTo>
                      <a:pt x="413" y="48"/>
                    </a:moveTo>
                    <a:cubicBezTo>
                      <a:pt x="413" y="280"/>
                      <a:pt x="413" y="280"/>
                      <a:pt x="413" y="280"/>
                    </a:cubicBezTo>
                    <a:cubicBezTo>
                      <a:pt x="318" y="280"/>
                      <a:pt x="318" y="280"/>
                      <a:pt x="318" y="280"/>
                    </a:cubicBezTo>
                    <a:cubicBezTo>
                      <a:pt x="307" y="280"/>
                      <a:pt x="297" y="287"/>
                      <a:pt x="295" y="298"/>
                    </a:cubicBezTo>
                    <a:cubicBezTo>
                      <a:pt x="275" y="374"/>
                      <a:pt x="275" y="374"/>
                      <a:pt x="275" y="374"/>
                    </a:cubicBezTo>
                    <a:cubicBezTo>
                      <a:pt x="215" y="129"/>
                      <a:pt x="215" y="129"/>
                      <a:pt x="215" y="129"/>
                    </a:cubicBezTo>
                    <a:cubicBezTo>
                      <a:pt x="212" y="118"/>
                      <a:pt x="203" y="110"/>
                      <a:pt x="192" y="110"/>
                    </a:cubicBezTo>
                    <a:cubicBezTo>
                      <a:pt x="191" y="110"/>
                      <a:pt x="191" y="110"/>
                      <a:pt x="191" y="110"/>
                    </a:cubicBezTo>
                    <a:cubicBezTo>
                      <a:pt x="180" y="110"/>
                      <a:pt x="171" y="118"/>
                      <a:pt x="168" y="129"/>
                    </a:cubicBezTo>
                    <a:cubicBezTo>
                      <a:pt x="132" y="282"/>
                      <a:pt x="132" y="282"/>
                      <a:pt x="132" y="282"/>
                    </a:cubicBezTo>
                    <a:cubicBezTo>
                      <a:pt x="48" y="282"/>
                      <a:pt x="48" y="282"/>
                      <a:pt x="48" y="282"/>
                    </a:cubicBezTo>
                    <a:cubicBezTo>
                      <a:pt x="48" y="48"/>
                      <a:pt x="48" y="48"/>
                      <a:pt x="48" y="48"/>
                    </a:cubicBezTo>
                    <a:lnTo>
                      <a:pt x="413" y="48"/>
                    </a:lnTo>
                    <a:close/>
                  </a:path>
                </a:pathLst>
              </a:custGeom>
              <a:grpFill/>
              <a:ln w="9525">
                <a:solidFill>
                  <a:srgbClr val="CCCCCC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/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7B918FC-4C25-4838-8F01-BC94AF2795BF}"/>
              </a:ext>
            </a:extLst>
          </p:cNvPr>
          <p:cNvGrpSpPr/>
          <p:nvPr/>
        </p:nvGrpSpPr>
        <p:grpSpPr>
          <a:xfrm>
            <a:off x="5116514" y="5739826"/>
            <a:ext cx="334839" cy="325788"/>
            <a:chOff x="-3624263" y="1349376"/>
            <a:chExt cx="3492500" cy="3656013"/>
          </a:xfrm>
          <a:solidFill>
            <a:schemeClr val="accent2"/>
          </a:solidFill>
        </p:grpSpPr>
        <p:sp>
          <p:nvSpPr>
            <p:cNvPr id="55" name="Freeform 77">
              <a:extLst>
                <a:ext uri="{FF2B5EF4-FFF2-40B4-BE49-F238E27FC236}">
                  <a16:creationId xmlns:a16="http://schemas.microsoft.com/office/drawing/2014/main" id="{707F4847-30E2-4565-B2D3-5EF7CAE7EF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624263" y="2782888"/>
              <a:ext cx="1931988" cy="2206625"/>
            </a:xfrm>
            <a:custGeom>
              <a:avLst/>
              <a:gdLst>
                <a:gd name="T0" fmla="*/ 257 w 514"/>
                <a:gd name="T1" fmla="*/ 328 h 587"/>
                <a:gd name="T2" fmla="*/ 466 w 514"/>
                <a:gd name="T3" fmla="*/ 587 h 587"/>
                <a:gd name="T4" fmla="*/ 514 w 514"/>
                <a:gd name="T5" fmla="*/ 587 h 587"/>
                <a:gd name="T6" fmla="*/ 438 w 514"/>
                <a:gd name="T7" fmla="*/ 361 h 587"/>
                <a:gd name="T8" fmla="*/ 346 w 514"/>
                <a:gd name="T9" fmla="*/ 297 h 587"/>
                <a:gd name="T10" fmla="*/ 418 w 514"/>
                <a:gd name="T11" fmla="*/ 162 h 587"/>
                <a:gd name="T12" fmla="*/ 257 w 514"/>
                <a:gd name="T13" fmla="*/ 0 h 587"/>
                <a:gd name="T14" fmla="*/ 95 w 514"/>
                <a:gd name="T15" fmla="*/ 162 h 587"/>
                <a:gd name="T16" fmla="*/ 168 w 514"/>
                <a:gd name="T17" fmla="*/ 297 h 587"/>
                <a:gd name="T18" fmla="*/ 76 w 514"/>
                <a:gd name="T19" fmla="*/ 361 h 587"/>
                <a:gd name="T20" fmla="*/ 0 w 514"/>
                <a:gd name="T21" fmla="*/ 587 h 587"/>
                <a:gd name="T22" fmla="*/ 48 w 514"/>
                <a:gd name="T23" fmla="*/ 587 h 587"/>
                <a:gd name="T24" fmla="*/ 257 w 514"/>
                <a:gd name="T25" fmla="*/ 328 h 587"/>
                <a:gd name="T26" fmla="*/ 257 w 514"/>
                <a:gd name="T27" fmla="*/ 48 h 587"/>
                <a:gd name="T28" fmla="*/ 370 w 514"/>
                <a:gd name="T29" fmla="*/ 162 h 587"/>
                <a:gd name="T30" fmla="*/ 257 w 514"/>
                <a:gd name="T31" fmla="*/ 275 h 587"/>
                <a:gd name="T32" fmla="*/ 143 w 514"/>
                <a:gd name="T33" fmla="*/ 162 h 587"/>
                <a:gd name="T34" fmla="*/ 257 w 514"/>
                <a:gd name="T35" fmla="*/ 48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4" h="587">
                  <a:moveTo>
                    <a:pt x="257" y="328"/>
                  </a:moveTo>
                  <a:cubicBezTo>
                    <a:pt x="361" y="328"/>
                    <a:pt x="466" y="408"/>
                    <a:pt x="466" y="587"/>
                  </a:cubicBezTo>
                  <a:cubicBezTo>
                    <a:pt x="514" y="587"/>
                    <a:pt x="514" y="587"/>
                    <a:pt x="514" y="587"/>
                  </a:cubicBezTo>
                  <a:cubicBezTo>
                    <a:pt x="514" y="495"/>
                    <a:pt x="487" y="417"/>
                    <a:pt x="438" y="361"/>
                  </a:cubicBezTo>
                  <a:cubicBezTo>
                    <a:pt x="412" y="332"/>
                    <a:pt x="381" y="310"/>
                    <a:pt x="346" y="297"/>
                  </a:cubicBezTo>
                  <a:cubicBezTo>
                    <a:pt x="389" y="268"/>
                    <a:pt x="418" y="218"/>
                    <a:pt x="418" y="162"/>
                  </a:cubicBezTo>
                  <a:cubicBezTo>
                    <a:pt x="418" y="73"/>
                    <a:pt x="346" y="0"/>
                    <a:pt x="257" y="0"/>
                  </a:cubicBezTo>
                  <a:cubicBezTo>
                    <a:pt x="168" y="0"/>
                    <a:pt x="95" y="73"/>
                    <a:pt x="95" y="162"/>
                  </a:cubicBezTo>
                  <a:cubicBezTo>
                    <a:pt x="95" y="218"/>
                    <a:pt x="124" y="268"/>
                    <a:pt x="168" y="297"/>
                  </a:cubicBezTo>
                  <a:cubicBezTo>
                    <a:pt x="133" y="310"/>
                    <a:pt x="101" y="332"/>
                    <a:pt x="76" y="361"/>
                  </a:cubicBezTo>
                  <a:cubicBezTo>
                    <a:pt x="26" y="417"/>
                    <a:pt x="0" y="495"/>
                    <a:pt x="0" y="587"/>
                  </a:cubicBezTo>
                  <a:cubicBezTo>
                    <a:pt x="48" y="587"/>
                    <a:pt x="48" y="587"/>
                    <a:pt x="48" y="587"/>
                  </a:cubicBezTo>
                  <a:cubicBezTo>
                    <a:pt x="48" y="408"/>
                    <a:pt x="153" y="328"/>
                    <a:pt x="257" y="328"/>
                  </a:cubicBezTo>
                  <a:close/>
                  <a:moveTo>
                    <a:pt x="257" y="48"/>
                  </a:moveTo>
                  <a:cubicBezTo>
                    <a:pt x="319" y="48"/>
                    <a:pt x="370" y="99"/>
                    <a:pt x="370" y="162"/>
                  </a:cubicBezTo>
                  <a:cubicBezTo>
                    <a:pt x="370" y="224"/>
                    <a:pt x="319" y="275"/>
                    <a:pt x="257" y="275"/>
                  </a:cubicBezTo>
                  <a:cubicBezTo>
                    <a:pt x="194" y="275"/>
                    <a:pt x="143" y="224"/>
                    <a:pt x="143" y="162"/>
                  </a:cubicBezTo>
                  <a:cubicBezTo>
                    <a:pt x="143" y="99"/>
                    <a:pt x="194" y="48"/>
                    <a:pt x="25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  <p:sp>
          <p:nvSpPr>
            <p:cNvPr id="56" name="Freeform 78">
              <a:extLst>
                <a:ext uri="{FF2B5EF4-FFF2-40B4-BE49-F238E27FC236}">
                  <a16:creationId xmlns:a16="http://schemas.microsoft.com/office/drawing/2014/main" id="{1D3DB057-8D53-4C78-B8B3-B9042C46C7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071813" y="4260851"/>
              <a:ext cx="819150" cy="744538"/>
            </a:xfrm>
            <a:custGeom>
              <a:avLst/>
              <a:gdLst>
                <a:gd name="T0" fmla="*/ 109 w 218"/>
                <a:gd name="T1" fmla="*/ 11 h 198"/>
                <a:gd name="T2" fmla="*/ 70 w 218"/>
                <a:gd name="T3" fmla="*/ 0 h 198"/>
                <a:gd name="T4" fmla="*/ 0 w 218"/>
                <a:gd name="T5" fmla="*/ 70 h 198"/>
                <a:gd name="T6" fmla="*/ 23 w 218"/>
                <a:gd name="T7" fmla="*/ 123 h 198"/>
                <a:gd name="T8" fmla="*/ 91 w 218"/>
                <a:gd name="T9" fmla="*/ 191 h 198"/>
                <a:gd name="T10" fmla="*/ 99 w 218"/>
                <a:gd name="T11" fmla="*/ 198 h 198"/>
                <a:gd name="T12" fmla="*/ 119 w 218"/>
                <a:gd name="T13" fmla="*/ 198 h 198"/>
                <a:gd name="T14" fmla="*/ 194 w 218"/>
                <a:gd name="T15" fmla="*/ 123 h 198"/>
                <a:gd name="T16" fmla="*/ 194 w 218"/>
                <a:gd name="T17" fmla="*/ 123 h 198"/>
                <a:gd name="T18" fmla="*/ 218 w 218"/>
                <a:gd name="T19" fmla="*/ 70 h 198"/>
                <a:gd name="T20" fmla="*/ 147 w 218"/>
                <a:gd name="T21" fmla="*/ 0 h 198"/>
                <a:gd name="T22" fmla="*/ 109 w 218"/>
                <a:gd name="T23" fmla="*/ 11 h 198"/>
                <a:gd name="T24" fmla="*/ 168 w 218"/>
                <a:gd name="T25" fmla="*/ 70 h 198"/>
                <a:gd name="T26" fmla="*/ 158 w 218"/>
                <a:gd name="T27" fmla="*/ 89 h 198"/>
                <a:gd name="T28" fmla="*/ 109 w 218"/>
                <a:gd name="T29" fmla="*/ 138 h 198"/>
                <a:gd name="T30" fmla="*/ 59 w 218"/>
                <a:gd name="T31" fmla="*/ 89 h 198"/>
                <a:gd name="T32" fmla="*/ 49 w 218"/>
                <a:gd name="T33" fmla="*/ 70 h 198"/>
                <a:gd name="T34" fmla="*/ 70 w 218"/>
                <a:gd name="T35" fmla="*/ 49 h 198"/>
                <a:gd name="T36" fmla="*/ 88 w 218"/>
                <a:gd name="T37" fmla="*/ 59 h 198"/>
                <a:gd name="T38" fmla="*/ 95 w 218"/>
                <a:gd name="T39" fmla="*/ 70 h 198"/>
                <a:gd name="T40" fmla="*/ 122 w 218"/>
                <a:gd name="T41" fmla="*/ 70 h 198"/>
                <a:gd name="T42" fmla="*/ 129 w 218"/>
                <a:gd name="T43" fmla="*/ 59 h 198"/>
                <a:gd name="T44" fmla="*/ 147 w 218"/>
                <a:gd name="T45" fmla="*/ 49 h 198"/>
                <a:gd name="T46" fmla="*/ 168 w 218"/>
                <a:gd name="T47" fmla="*/ 7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8" h="198">
                  <a:moveTo>
                    <a:pt x="109" y="11"/>
                  </a:moveTo>
                  <a:cubicBezTo>
                    <a:pt x="97" y="4"/>
                    <a:pt x="84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89"/>
                    <a:pt x="7" y="106"/>
                    <a:pt x="23" y="123"/>
                  </a:cubicBezTo>
                  <a:cubicBezTo>
                    <a:pt x="91" y="191"/>
                    <a:pt x="91" y="191"/>
                    <a:pt x="91" y="191"/>
                  </a:cubicBezTo>
                  <a:cubicBezTo>
                    <a:pt x="99" y="198"/>
                    <a:pt x="99" y="198"/>
                    <a:pt x="99" y="198"/>
                  </a:cubicBezTo>
                  <a:cubicBezTo>
                    <a:pt x="119" y="198"/>
                    <a:pt x="119" y="198"/>
                    <a:pt x="119" y="198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210" y="106"/>
                    <a:pt x="218" y="89"/>
                    <a:pt x="218" y="70"/>
                  </a:cubicBezTo>
                  <a:cubicBezTo>
                    <a:pt x="218" y="32"/>
                    <a:pt x="186" y="0"/>
                    <a:pt x="147" y="0"/>
                  </a:cubicBezTo>
                  <a:cubicBezTo>
                    <a:pt x="133" y="0"/>
                    <a:pt x="120" y="4"/>
                    <a:pt x="109" y="11"/>
                  </a:cubicBezTo>
                  <a:close/>
                  <a:moveTo>
                    <a:pt x="168" y="70"/>
                  </a:moveTo>
                  <a:cubicBezTo>
                    <a:pt x="168" y="74"/>
                    <a:pt x="167" y="79"/>
                    <a:pt x="158" y="89"/>
                  </a:cubicBezTo>
                  <a:cubicBezTo>
                    <a:pt x="109" y="138"/>
                    <a:pt x="109" y="138"/>
                    <a:pt x="109" y="138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0" y="79"/>
                    <a:pt x="49" y="74"/>
                    <a:pt x="49" y="70"/>
                  </a:cubicBezTo>
                  <a:cubicBezTo>
                    <a:pt x="49" y="59"/>
                    <a:pt x="59" y="49"/>
                    <a:pt x="70" y="49"/>
                  </a:cubicBezTo>
                  <a:cubicBezTo>
                    <a:pt x="77" y="49"/>
                    <a:pt x="84" y="53"/>
                    <a:pt x="88" y="59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33" y="53"/>
                    <a:pt x="140" y="49"/>
                    <a:pt x="147" y="49"/>
                  </a:cubicBezTo>
                  <a:cubicBezTo>
                    <a:pt x="159" y="49"/>
                    <a:pt x="168" y="59"/>
                    <a:pt x="16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  <p:sp>
          <p:nvSpPr>
            <p:cNvPr id="57" name="Freeform 79">
              <a:extLst>
                <a:ext uri="{FF2B5EF4-FFF2-40B4-BE49-F238E27FC236}">
                  <a16:creationId xmlns:a16="http://schemas.microsoft.com/office/drawing/2014/main" id="{91D2904C-5008-4B98-85DA-1A5A9A63D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41463" y="3478213"/>
              <a:ext cx="511175" cy="180975"/>
            </a:xfrm>
            <a:custGeom>
              <a:avLst/>
              <a:gdLst>
                <a:gd name="T0" fmla="*/ 136 w 136"/>
                <a:gd name="T1" fmla="*/ 24 h 48"/>
                <a:gd name="T2" fmla="*/ 112 w 136"/>
                <a:gd name="T3" fmla="*/ 0 h 48"/>
                <a:gd name="T4" fmla="*/ 24 w 136"/>
                <a:gd name="T5" fmla="*/ 0 h 48"/>
                <a:gd name="T6" fmla="*/ 0 w 136"/>
                <a:gd name="T7" fmla="*/ 24 h 48"/>
                <a:gd name="T8" fmla="*/ 24 w 136"/>
                <a:gd name="T9" fmla="*/ 48 h 48"/>
                <a:gd name="T10" fmla="*/ 112 w 136"/>
                <a:gd name="T11" fmla="*/ 48 h 48"/>
                <a:gd name="T12" fmla="*/ 136 w 136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48">
                  <a:moveTo>
                    <a:pt x="136" y="24"/>
                  </a:moveTo>
                  <a:cubicBezTo>
                    <a:pt x="136" y="11"/>
                    <a:pt x="125" y="0"/>
                    <a:pt x="1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25" y="48"/>
                    <a:pt x="136" y="37"/>
                    <a:pt x="13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  <p:sp>
          <p:nvSpPr>
            <p:cNvPr id="58" name="Freeform 80">
              <a:extLst>
                <a:ext uri="{FF2B5EF4-FFF2-40B4-BE49-F238E27FC236}">
                  <a16:creationId xmlns:a16="http://schemas.microsoft.com/office/drawing/2014/main" id="{ED81BE32-FEBF-4A7D-B208-5657A1195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95425" y="3790951"/>
              <a:ext cx="417513" cy="179388"/>
            </a:xfrm>
            <a:custGeom>
              <a:avLst/>
              <a:gdLst>
                <a:gd name="T0" fmla="*/ 24 w 111"/>
                <a:gd name="T1" fmla="*/ 0 h 48"/>
                <a:gd name="T2" fmla="*/ 0 w 111"/>
                <a:gd name="T3" fmla="*/ 24 h 48"/>
                <a:gd name="T4" fmla="*/ 24 w 111"/>
                <a:gd name="T5" fmla="*/ 48 h 48"/>
                <a:gd name="T6" fmla="*/ 87 w 111"/>
                <a:gd name="T7" fmla="*/ 48 h 48"/>
                <a:gd name="T8" fmla="*/ 111 w 111"/>
                <a:gd name="T9" fmla="*/ 24 h 48"/>
                <a:gd name="T10" fmla="*/ 87 w 111"/>
                <a:gd name="T11" fmla="*/ 0 h 48"/>
                <a:gd name="T12" fmla="*/ 24 w 11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48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101" y="48"/>
                    <a:pt x="111" y="37"/>
                    <a:pt x="111" y="24"/>
                  </a:cubicBezTo>
                  <a:cubicBezTo>
                    <a:pt x="111" y="11"/>
                    <a:pt x="101" y="0"/>
                    <a:pt x="87" y="0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2F70D3E6-7141-4B10-BD37-19A9B5A9FD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827213" y="1876426"/>
              <a:ext cx="1079500" cy="1455738"/>
            </a:xfrm>
            <a:custGeom>
              <a:avLst/>
              <a:gdLst>
                <a:gd name="T0" fmla="*/ 144 w 287"/>
                <a:gd name="T1" fmla="*/ 0 h 387"/>
                <a:gd name="T2" fmla="*/ 0 w 287"/>
                <a:gd name="T3" fmla="*/ 143 h 387"/>
                <a:gd name="T4" fmla="*/ 26 w 287"/>
                <a:gd name="T5" fmla="*/ 226 h 387"/>
                <a:gd name="T6" fmla="*/ 48 w 287"/>
                <a:gd name="T7" fmla="*/ 280 h 387"/>
                <a:gd name="T8" fmla="*/ 53 w 287"/>
                <a:gd name="T9" fmla="*/ 331 h 387"/>
                <a:gd name="T10" fmla="*/ 109 w 287"/>
                <a:gd name="T11" fmla="*/ 387 h 387"/>
                <a:gd name="T12" fmla="*/ 178 w 287"/>
                <a:gd name="T13" fmla="*/ 387 h 387"/>
                <a:gd name="T14" fmla="*/ 235 w 287"/>
                <a:gd name="T15" fmla="*/ 331 h 387"/>
                <a:gd name="T16" fmla="*/ 239 w 287"/>
                <a:gd name="T17" fmla="*/ 280 h 387"/>
                <a:gd name="T18" fmla="*/ 261 w 287"/>
                <a:gd name="T19" fmla="*/ 226 h 387"/>
                <a:gd name="T20" fmla="*/ 287 w 287"/>
                <a:gd name="T21" fmla="*/ 143 h 387"/>
                <a:gd name="T22" fmla="*/ 144 w 287"/>
                <a:gd name="T23" fmla="*/ 0 h 387"/>
                <a:gd name="T24" fmla="*/ 218 w 287"/>
                <a:gd name="T25" fmla="*/ 206 h 387"/>
                <a:gd name="T26" fmla="*/ 193 w 287"/>
                <a:gd name="T27" fmla="*/ 266 h 387"/>
                <a:gd name="T28" fmla="*/ 187 w 287"/>
                <a:gd name="T29" fmla="*/ 330 h 387"/>
                <a:gd name="T30" fmla="*/ 187 w 287"/>
                <a:gd name="T31" fmla="*/ 331 h 387"/>
                <a:gd name="T32" fmla="*/ 178 w 287"/>
                <a:gd name="T33" fmla="*/ 339 h 387"/>
                <a:gd name="T34" fmla="*/ 109 w 287"/>
                <a:gd name="T35" fmla="*/ 339 h 387"/>
                <a:gd name="T36" fmla="*/ 101 w 287"/>
                <a:gd name="T37" fmla="*/ 331 h 387"/>
                <a:gd name="T38" fmla="*/ 101 w 287"/>
                <a:gd name="T39" fmla="*/ 330 h 387"/>
                <a:gd name="T40" fmla="*/ 94 w 287"/>
                <a:gd name="T41" fmla="*/ 266 h 387"/>
                <a:gd name="T42" fmla="*/ 70 w 287"/>
                <a:gd name="T43" fmla="*/ 206 h 387"/>
                <a:gd name="T44" fmla="*/ 48 w 287"/>
                <a:gd name="T45" fmla="*/ 143 h 387"/>
                <a:gd name="T46" fmla="*/ 144 w 287"/>
                <a:gd name="T47" fmla="*/ 48 h 387"/>
                <a:gd name="T48" fmla="*/ 239 w 287"/>
                <a:gd name="T49" fmla="*/ 143 h 387"/>
                <a:gd name="T50" fmla="*/ 218 w 287"/>
                <a:gd name="T51" fmla="*/ 20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7" h="387">
                  <a:moveTo>
                    <a:pt x="144" y="0"/>
                  </a:moveTo>
                  <a:cubicBezTo>
                    <a:pt x="65" y="0"/>
                    <a:pt x="0" y="64"/>
                    <a:pt x="0" y="143"/>
                  </a:cubicBezTo>
                  <a:cubicBezTo>
                    <a:pt x="0" y="172"/>
                    <a:pt x="13" y="198"/>
                    <a:pt x="26" y="226"/>
                  </a:cubicBezTo>
                  <a:cubicBezTo>
                    <a:pt x="34" y="244"/>
                    <a:pt x="43" y="261"/>
                    <a:pt x="48" y="280"/>
                  </a:cubicBezTo>
                  <a:cubicBezTo>
                    <a:pt x="50" y="286"/>
                    <a:pt x="52" y="311"/>
                    <a:pt x="53" y="331"/>
                  </a:cubicBezTo>
                  <a:cubicBezTo>
                    <a:pt x="53" y="362"/>
                    <a:pt x="78" y="387"/>
                    <a:pt x="109" y="387"/>
                  </a:cubicBezTo>
                  <a:cubicBezTo>
                    <a:pt x="178" y="387"/>
                    <a:pt x="178" y="387"/>
                    <a:pt x="178" y="387"/>
                  </a:cubicBezTo>
                  <a:cubicBezTo>
                    <a:pt x="209" y="387"/>
                    <a:pt x="235" y="362"/>
                    <a:pt x="235" y="331"/>
                  </a:cubicBezTo>
                  <a:cubicBezTo>
                    <a:pt x="235" y="311"/>
                    <a:pt x="237" y="286"/>
                    <a:pt x="239" y="280"/>
                  </a:cubicBezTo>
                  <a:cubicBezTo>
                    <a:pt x="245" y="261"/>
                    <a:pt x="253" y="244"/>
                    <a:pt x="261" y="226"/>
                  </a:cubicBezTo>
                  <a:cubicBezTo>
                    <a:pt x="275" y="198"/>
                    <a:pt x="287" y="172"/>
                    <a:pt x="287" y="143"/>
                  </a:cubicBezTo>
                  <a:cubicBezTo>
                    <a:pt x="287" y="64"/>
                    <a:pt x="223" y="0"/>
                    <a:pt x="144" y="0"/>
                  </a:cubicBezTo>
                  <a:close/>
                  <a:moveTo>
                    <a:pt x="218" y="206"/>
                  </a:moveTo>
                  <a:cubicBezTo>
                    <a:pt x="209" y="224"/>
                    <a:pt x="200" y="244"/>
                    <a:pt x="193" y="266"/>
                  </a:cubicBezTo>
                  <a:cubicBezTo>
                    <a:pt x="189" y="281"/>
                    <a:pt x="187" y="319"/>
                    <a:pt x="187" y="330"/>
                  </a:cubicBezTo>
                  <a:cubicBezTo>
                    <a:pt x="187" y="330"/>
                    <a:pt x="187" y="330"/>
                    <a:pt x="187" y="331"/>
                  </a:cubicBezTo>
                  <a:cubicBezTo>
                    <a:pt x="187" y="335"/>
                    <a:pt x="183" y="339"/>
                    <a:pt x="178" y="339"/>
                  </a:cubicBezTo>
                  <a:cubicBezTo>
                    <a:pt x="109" y="339"/>
                    <a:pt x="109" y="339"/>
                    <a:pt x="109" y="339"/>
                  </a:cubicBezTo>
                  <a:cubicBezTo>
                    <a:pt x="105" y="339"/>
                    <a:pt x="101" y="335"/>
                    <a:pt x="101" y="331"/>
                  </a:cubicBezTo>
                  <a:cubicBezTo>
                    <a:pt x="101" y="330"/>
                    <a:pt x="101" y="330"/>
                    <a:pt x="101" y="330"/>
                  </a:cubicBezTo>
                  <a:cubicBezTo>
                    <a:pt x="101" y="319"/>
                    <a:pt x="99" y="281"/>
                    <a:pt x="94" y="266"/>
                  </a:cubicBezTo>
                  <a:cubicBezTo>
                    <a:pt x="88" y="244"/>
                    <a:pt x="78" y="224"/>
                    <a:pt x="70" y="206"/>
                  </a:cubicBezTo>
                  <a:cubicBezTo>
                    <a:pt x="58" y="182"/>
                    <a:pt x="48" y="161"/>
                    <a:pt x="48" y="143"/>
                  </a:cubicBezTo>
                  <a:cubicBezTo>
                    <a:pt x="48" y="91"/>
                    <a:pt x="91" y="48"/>
                    <a:pt x="144" y="48"/>
                  </a:cubicBezTo>
                  <a:cubicBezTo>
                    <a:pt x="196" y="48"/>
                    <a:pt x="239" y="91"/>
                    <a:pt x="239" y="143"/>
                  </a:cubicBezTo>
                  <a:cubicBezTo>
                    <a:pt x="239" y="161"/>
                    <a:pt x="229" y="182"/>
                    <a:pt x="218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91E0DB86-2D65-4242-BC1C-42C0C8529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00288" y="1770063"/>
              <a:ext cx="393700" cy="293688"/>
            </a:xfrm>
            <a:custGeom>
              <a:avLst/>
              <a:gdLst>
                <a:gd name="T0" fmla="*/ 16 w 105"/>
                <a:gd name="T1" fmla="*/ 48 h 78"/>
                <a:gd name="T2" fmla="*/ 66 w 105"/>
                <a:gd name="T3" fmla="*/ 75 h 78"/>
                <a:gd name="T4" fmla="*/ 77 w 105"/>
                <a:gd name="T5" fmla="*/ 78 h 78"/>
                <a:gd name="T6" fmla="*/ 98 w 105"/>
                <a:gd name="T7" fmla="*/ 65 h 78"/>
                <a:gd name="T8" fmla="*/ 88 w 105"/>
                <a:gd name="T9" fmla="*/ 32 h 78"/>
                <a:gd name="T10" fmla="*/ 39 w 105"/>
                <a:gd name="T11" fmla="*/ 6 h 78"/>
                <a:gd name="T12" fmla="*/ 7 w 105"/>
                <a:gd name="T13" fmla="*/ 16 h 78"/>
                <a:gd name="T14" fmla="*/ 16 w 105"/>
                <a:gd name="T15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78">
                  <a:moveTo>
                    <a:pt x="16" y="48"/>
                  </a:moveTo>
                  <a:cubicBezTo>
                    <a:pt x="66" y="75"/>
                    <a:pt x="66" y="75"/>
                    <a:pt x="66" y="75"/>
                  </a:cubicBezTo>
                  <a:cubicBezTo>
                    <a:pt x="69" y="77"/>
                    <a:pt x="73" y="78"/>
                    <a:pt x="77" y="78"/>
                  </a:cubicBezTo>
                  <a:cubicBezTo>
                    <a:pt x="86" y="78"/>
                    <a:pt x="94" y="73"/>
                    <a:pt x="98" y="65"/>
                  </a:cubicBezTo>
                  <a:cubicBezTo>
                    <a:pt x="105" y="53"/>
                    <a:pt x="100" y="39"/>
                    <a:pt x="88" y="32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27" y="0"/>
                    <a:pt x="13" y="4"/>
                    <a:pt x="7" y="16"/>
                  </a:cubicBezTo>
                  <a:cubicBezTo>
                    <a:pt x="0" y="28"/>
                    <a:pt x="5" y="42"/>
                    <a:pt x="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8120A505-25C9-4263-84EF-27E7E4258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9738" y="1349376"/>
              <a:ext cx="261938" cy="395288"/>
            </a:xfrm>
            <a:custGeom>
              <a:avLst/>
              <a:gdLst>
                <a:gd name="T0" fmla="*/ 21 w 70"/>
                <a:gd name="T1" fmla="*/ 88 h 105"/>
                <a:gd name="T2" fmla="*/ 43 w 70"/>
                <a:gd name="T3" fmla="*/ 105 h 105"/>
                <a:gd name="T4" fmla="*/ 50 w 70"/>
                <a:gd name="T5" fmla="*/ 103 h 105"/>
                <a:gd name="T6" fmla="*/ 66 w 70"/>
                <a:gd name="T7" fmla="*/ 74 h 105"/>
                <a:gd name="T8" fmla="*/ 50 w 70"/>
                <a:gd name="T9" fmla="*/ 20 h 105"/>
                <a:gd name="T10" fmla="*/ 20 w 70"/>
                <a:gd name="T11" fmla="*/ 4 h 105"/>
                <a:gd name="T12" fmla="*/ 4 w 70"/>
                <a:gd name="T13" fmla="*/ 34 h 105"/>
                <a:gd name="T14" fmla="*/ 21 w 70"/>
                <a:gd name="T15" fmla="*/ 8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05">
                  <a:moveTo>
                    <a:pt x="21" y="88"/>
                  </a:moveTo>
                  <a:cubicBezTo>
                    <a:pt x="24" y="98"/>
                    <a:pt x="33" y="105"/>
                    <a:pt x="43" y="105"/>
                  </a:cubicBezTo>
                  <a:cubicBezTo>
                    <a:pt x="46" y="105"/>
                    <a:pt x="48" y="104"/>
                    <a:pt x="50" y="103"/>
                  </a:cubicBezTo>
                  <a:cubicBezTo>
                    <a:pt x="63" y="100"/>
                    <a:pt x="70" y="86"/>
                    <a:pt x="66" y="74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6" y="7"/>
                    <a:pt x="33" y="0"/>
                    <a:pt x="20" y="4"/>
                  </a:cubicBezTo>
                  <a:cubicBezTo>
                    <a:pt x="7" y="8"/>
                    <a:pt x="0" y="21"/>
                    <a:pt x="4" y="34"/>
                  </a:cubicBezTo>
                  <a:lnTo>
                    <a:pt x="2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BC7500A7-CB40-4AC9-ADE4-92AFE616A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7063" y="1785938"/>
              <a:ext cx="390525" cy="293688"/>
            </a:xfrm>
            <a:custGeom>
              <a:avLst/>
              <a:gdLst>
                <a:gd name="T0" fmla="*/ 88 w 104"/>
                <a:gd name="T1" fmla="*/ 49 h 78"/>
                <a:gd name="T2" fmla="*/ 98 w 104"/>
                <a:gd name="T3" fmla="*/ 16 h 78"/>
                <a:gd name="T4" fmla="*/ 65 w 104"/>
                <a:gd name="T5" fmla="*/ 6 h 78"/>
                <a:gd name="T6" fmla="*/ 16 w 104"/>
                <a:gd name="T7" fmla="*/ 33 h 78"/>
                <a:gd name="T8" fmla="*/ 6 w 104"/>
                <a:gd name="T9" fmla="*/ 65 h 78"/>
                <a:gd name="T10" fmla="*/ 27 w 104"/>
                <a:gd name="T11" fmla="*/ 78 h 78"/>
                <a:gd name="T12" fmla="*/ 38 w 104"/>
                <a:gd name="T13" fmla="*/ 75 h 78"/>
                <a:gd name="T14" fmla="*/ 88 w 104"/>
                <a:gd name="T15" fmla="*/ 4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78">
                  <a:moveTo>
                    <a:pt x="88" y="49"/>
                  </a:moveTo>
                  <a:cubicBezTo>
                    <a:pt x="99" y="43"/>
                    <a:pt x="104" y="28"/>
                    <a:pt x="98" y="16"/>
                  </a:cubicBezTo>
                  <a:cubicBezTo>
                    <a:pt x="91" y="5"/>
                    <a:pt x="77" y="0"/>
                    <a:pt x="65" y="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4" y="39"/>
                    <a:pt x="0" y="54"/>
                    <a:pt x="6" y="65"/>
                  </a:cubicBezTo>
                  <a:cubicBezTo>
                    <a:pt x="10" y="73"/>
                    <a:pt x="18" y="78"/>
                    <a:pt x="27" y="78"/>
                  </a:cubicBezTo>
                  <a:cubicBezTo>
                    <a:pt x="31" y="78"/>
                    <a:pt x="35" y="77"/>
                    <a:pt x="38" y="75"/>
                  </a:cubicBezTo>
                  <a:lnTo>
                    <a:pt x="8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id="{C1B6D6D5-492F-4926-BDCE-18C04958BB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2288" y="2401888"/>
              <a:ext cx="390525" cy="188913"/>
            </a:xfrm>
            <a:custGeom>
              <a:avLst/>
              <a:gdLst>
                <a:gd name="T0" fmla="*/ 80 w 104"/>
                <a:gd name="T1" fmla="*/ 2 h 50"/>
                <a:gd name="T2" fmla="*/ 24 w 104"/>
                <a:gd name="T3" fmla="*/ 1 h 50"/>
                <a:gd name="T4" fmla="*/ 0 w 104"/>
                <a:gd name="T5" fmla="*/ 24 h 50"/>
                <a:gd name="T6" fmla="*/ 23 w 104"/>
                <a:gd name="T7" fmla="*/ 49 h 50"/>
                <a:gd name="T8" fmla="*/ 79 w 104"/>
                <a:gd name="T9" fmla="*/ 50 h 50"/>
                <a:gd name="T10" fmla="*/ 80 w 104"/>
                <a:gd name="T11" fmla="*/ 50 h 50"/>
                <a:gd name="T12" fmla="*/ 104 w 104"/>
                <a:gd name="T13" fmla="*/ 26 h 50"/>
                <a:gd name="T14" fmla="*/ 80 w 104"/>
                <a:gd name="T1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50">
                  <a:moveTo>
                    <a:pt x="80" y="2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0" y="48"/>
                    <a:pt x="23" y="49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93" y="50"/>
                    <a:pt x="104" y="39"/>
                    <a:pt x="104" y="26"/>
                  </a:cubicBezTo>
                  <a:cubicBezTo>
                    <a:pt x="104" y="13"/>
                    <a:pt x="94" y="2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id="{31914480-274D-4D03-AA50-91BA442E9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443163" y="2395538"/>
              <a:ext cx="393700" cy="187325"/>
            </a:xfrm>
            <a:custGeom>
              <a:avLst/>
              <a:gdLst>
                <a:gd name="T0" fmla="*/ 24 w 105"/>
                <a:gd name="T1" fmla="*/ 48 h 50"/>
                <a:gd name="T2" fmla="*/ 80 w 105"/>
                <a:gd name="T3" fmla="*/ 50 h 50"/>
                <a:gd name="T4" fmla="*/ 81 w 105"/>
                <a:gd name="T5" fmla="*/ 50 h 50"/>
                <a:gd name="T6" fmla="*/ 105 w 105"/>
                <a:gd name="T7" fmla="*/ 26 h 50"/>
                <a:gd name="T8" fmla="*/ 81 w 105"/>
                <a:gd name="T9" fmla="*/ 2 h 50"/>
                <a:gd name="T10" fmla="*/ 25 w 105"/>
                <a:gd name="T11" fmla="*/ 0 h 50"/>
                <a:gd name="T12" fmla="*/ 1 w 105"/>
                <a:gd name="T13" fmla="*/ 24 h 50"/>
                <a:gd name="T14" fmla="*/ 24 w 105"/>
                <a:gd name="T1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50">
                  <a:moveTo>
                    <a:pt x="24" y="48"/>
                  </a:moveTo>
                  <a:cubicBezTo>
                    <a:pt x="80" y="50"/>
                    <a:pt x="80" y="50"/>
                    <a:pt x="80" y="50"/>
                  </a:cubicBezTo>
                  <a:cubicBezTo>
                    <a:pt x="80" y="50"/>
                    <a:pt x="81" y="50"/>
                    <a:pt x="81" y="50"/>
                  </a:cubicBezTo>
                  <a:cubicBezTo>
                    <a:pt x="94" y="50"/>
                    <a:pt x="104" y="39"/>
                    <a:pt x="105" y="26"/>
                  </a:cubicBezTo>
                  <a:cubicBezTo>
                    <a:pt x="105" y="13"/>
                    <a:pt x="95" y="2"/>
                    <a:pt x="81" y="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2" y="0"/>
                    <a:pt x="1" y="10"/>
                    <a:pt x="1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0B899EAD-68EC-461D-B3C8-4AC787C39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52513" y="1368426"/>
              <a:ext cx="285750" cy="387350"/>
            </a:xfrm>
            <a:custGeom>
              <a:avLst/>
              <a:gdLst>
                <a:gd name="T0" fmla="*/ 18 w 76"/>
                <a:gd name="T1" fmla="*/ 101 h 103"/>
                <a:gd name="T2" fmla="*/ 27 w 76"/>
                <a:gd name="T3" fmla="*/ 103 h 103"/>
                <a:gd name="T4" fmla="*/ 49 w 76"/>
                <a:gd name="T5" fmla="*/ 88 h 103"/>
                <a:gd name="T6" fmla="*/ 71 w 76"/>
                <a:gd name="T7" fmla="*/ 36 h 103"/>
                <a:gd name="T8" fmla="*/ 58 w 76"/>
                <a:gd name="T9" fmla="*/ 5 h 103"/>
                <a:gd name="T10" fmla="*/ 26 w 76"/>
                <a:gd name="T11" fmla="*/ 18 h 103"/>
                <a:gd name="T12" fmla="*/ 5 w 76"/>
                <a:gd name="T13" fmla="*/ 70 h 103"/>
                <a:gd name="T14" fmla="*/ 18 w 76"/>
                <a:gd name="T15" fmla="*/ 10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03">
                  <a:moveTo>
                    <a:pt x="18" y="101"/>
                  </a:moveTo>
                  <a:cubicBezTo>
                    <a:pt x="21" y="102"/>
                    <a:pt x="24" y="103"/>
                    <a:pt x="27" y="103"/>
                  </a:cubicBezTo>
                  <a:cubicBezTo>
                    <a:pt x="37" y="103"/>
                    <a:pt x="46" y="97"/>
                    <a:pt x="49" y="88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6" y="24"/>
                    <a:pt x="70" y="10"/>
                    <a:pt x="58" y="5"/>
                  </a:cubicBezTo>
                  <a:cubicBezTo>
                    <a:pt x="45" y="0"/>
                    <a:pt x="31" y="6"/>
                    <a:pt x="26" y="18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0" y="82"/>
                    <a:pt x="6" y="96"/>
                    <a:pt x="18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60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679286E-810D-4DAF-A26E-2C6298ECF944}"/>
              </a:ext>
            </a:extLst>
          </p:cNvPr>
          <p:cNvGrpSpPr/>
          <p:nvPr/>
        </p:nvGrpSpPr>
        <p:grpSpPr>
          <a:xfrm>
            <a:off x="6640774" y="5721838"/>
            <a:ext cx="978582" cy="941657"/>
            <a:chOff x="13346062" y="11752504"/>
            <a:chExt cx="1957164" cy="1883313"/>
          </a:xfrm>
        </p:grpSpPr>
        <p:sp>
          <p:nvSpPr>
            <p:cNvPr id="17" name="Freeform 142">
              <a:extLst>
                <a:ext uri="{FF2B5EF4-FFF2-40B4-BE49-F238E27FC236}">
                  <a16:creationId xmlns:a16="http://schemas.microsoft.com/office/drawing/2014/main" id="{61D1B071-FA9B-47BC-9C22-442DCD189680}"/>
                </a:ext>
              </a:extLst>
            </p:cNvPr>
            <p:cNvSpPr/>
            <p:nvPr/>
          </p:nvSpPr>
          <p:spPr>
            <a:xfrm>
              <a:off x="13346062" y="11752504"/>
              <a:ext cx="1924722" cy="1883313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8646" tIns="248646" rIns="248646" bIns="248646" numCol="1" spcCol="1270" anchor="ctr" anchorCtr="0">
              <a:noAutofit/>
            </a:bodyPr>
            <a:lstStyle/>
            <a:p>
              <a:pPr algn="ctr" defTabSz="2444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55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BA23EFD-8F8E-4B07-BA1C-20BB27B31B27}"/>
                </a:ext>
              </a:extLst>
            </p:cNvPr>
            <p:cNvSpPr/>
            <p:nvPr/>
          </p:nvSpPr>
          <p:spPr>
            <a:xfrm>
              <a:off x="13376800" y="12817089"/>
              <a:ext cx="1926426" cy="33239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12446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200" b="1" dirty="0"/>
                <a:t>Telemedicine</a:t>
              </a: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0686D92-1A24-42F9-9996-1FD07C0D5930}"/>
                </a:ext>
              </a:extLst>
            </p:cNvPr>
            <p:cNvGrpSpPr/>
            <p:nvPr/>
          </p:nvGrpSpPr>
          <p:grpSpPr>
            <a:xfrm>
              <a:off x="13889753" y="12119465"/>
              <a:ext cx="770083" cy="638890"/>
              <a:chOff x="-2161241" y="1407261"/>
              <a:chExt cx="1945341" cy="1621425"/>
            </a:xfrm>
            <a:solidFill>
              <a:schemeClr val="accent3"/>
            </a:solidFill>
          </p:grpSpPr>
          <p:sp>
            <p:nvSpPr>
              <p:cNvPr id="67" name="Freeform 40">
                <a:extLst>
                  <a:ext uri="{FF2B5EF4-FFF2-40B4-BE49-F238E27FC236}">
                    <a16:creationId xmlns:a16="http://schemas.microsoft.com/office/drawing/2014/main" id="{EC65BDA5-49FD-42E2-934F-93E4C7B41B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161241" y="1407261"/>
                <a:ext cx="1945341" cy="1621425"/>
              </a:xfrm>
              <a:custGeom>
                <a:avLst/>
                <a:gdLst>
                  <a:gd name="T0" fmla="*/ 816 w 890"/>
                  <a:gd name="T1" fmla="*/ 0 h 742"/>
                  <a:gd name="T2" fmla="*/ 73 w 890"/>
                  <a:gd name="T3" fmla="*/ 0 h 742"/>
                  <a:gd name="T4" fmla="*/ 0 w 890"/>
                  <a:gd name="T5" fmla="*/ 73 h 742"/>
                  <a:gd name="T6" fmla="*/ 0 w 890"/>
                  <a:gd name="T7" fmla="*/ 559 h 742"/>
                  <a:gd name="T8" fmla="*/ 73 w 890"/>
                  <a:gd name="T9" fmla="*/ 632 h 742"/>
                  <a:gd name="T10" fmla="*/ 421 w 890"/>
                  <a:gd name="T11" fmla="*/ 632 h 742"/>
                  <a:gd name="T12" fmla="*/ 421 w 890"/>
                  <a:gd name="T13" fmla="*/ 694 h 742"/>
                  <a:gd name="T14" fmla="*/ 281 w 890"/>
                  <a:gd name="T15" fmla="*/ 694 h 742"/>
                  <a:gd name="T16" fmla="*/ 257 w 890"/>
                  <a:gd name="T17" fmla="*/ 718 h 742"/>
                  <a:gd name="T18" fmla="*/ 281 w 890"/>
                  <a:gd name="T19" fmla="*/ 742 h 742"/>
                  <a:gd name="T20" fmla="*/ 608 w 890"/>
                  <a:gd name="T21" fmla="*/ 742 h 742"/>
                  <a:gd name="T22" fmla="*/ 632 w 890"/>
                  <a:gd name="T23" fmla="*/ 718 h 742"/>
                  <a:gd name="T24" fmla="*/ 608 w 890"/>
                  <a:gd name="T25" fmla="*/ 694 h 742"/>
                  <a:gd name="T26" fmla="*/ 469 w 890"/>
                  <a:gd name="T27" fmla="*/ 694 h 742"/>
                  <a:gd name="T28" fmla="*/ 469 w 890"/>
                  <a:gd name="T29" fmla="*/ 632 h 742"/>
                  <a:gd name="T30" fmla="*/ 816 w 890"/>
                  <a:gd name="T31" fmla="*/ 632 h 742"/>
                  <a:gd name="T32" fmla="*/ 890 w 890"/>
                  <a:gd name="T33" fmla="*/ 559 h 742"/>
                  <a:gd name="T34" fmla="*/ 890 w 890"/>
                  <a:gd name="T35" fmla="*/ 73 h 742"/>
                  <a:gd name="T36" fmla="*/ 816 w 890"/>
                  <a:gd name="T37" fmla="*/ 0 h 742"/>
                  <a:gd name="T38" fmla="*/ 73 w 890"/>
                  <a:gd name="T39" fmla="*/ 48 h 742"/>
                  <a:gd name="T40" fmla="*/ 816 w 890"/>
                  <a:gd name="T41" fmla="*/ 48 h 742"/>
                  <a:gd name="T42" fmla="*/ 842 w 890"/>
                  <a:gd name="T43" fmla="*/ 73 h 742"/>
                  <a:gd name="T44" fmla="*/ 842 w 890"/>
                  <a:gd name="T45" fmla="*/ 494 h 742"/>
                  <a:gd name="T46" fmla="*/ 48 w 890"/>
                  <a:gd name="T47" fmla="*/ 494 h 742"/>
                  <a:gd name="T48" fmla="*/ 48 w 890"/>
                  <a:gd name="T49" fmla="*/ 73 h 742"/>
                  <a:gd name="T50" fmla="*/ 73 w 890"/>
                  <a:gd name="T51" fmla="*/ 48 h 742"/>
                  <a:gd name="T52" fmla="*/ 816 w 890"/>
                  <a:gd name="T53" fmla="*/ 584 h 742"/>
                  <a:gd name="T54" fmla="*/ 73 w 890"/>
                  <a:gd name="T55" fmla="*/ 584 h 742"/>
                  <a:gd name="T56" fmla="*/ 48 w 890"/>
                  <a:gd name="T57" fmla="*/ 559 h 742"/>
                  <a:gd name="T58" fmla="*/ 48 w 890"/>
                  <a:gd name="T59" fmla="*/ 542 h 742"/>
                  <a:gd name="T60" fmla="*/ 842 w 890"/>
                  <a:gd name="T61" fmla="*/ 542 h 742"/>
                  <a:gd name="T62" fmla="*/ 842 w 890"/>
                  <a:gd name="T63" fmla="*/ 559 h 742"/>
                  <a:gd name="T64" fmla="*/ 816 w 890"/>
                  <a:gd name="T65" fmla="*/ 584 h 7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90" h="742">
                    <a:moveTo>
                      <a:pt x="816" y="0"/>
                    </a:moveTo>
                    <a:cubicBezTo>
                      <a:pt x="73" y="0"/>
                      <a:pt x="73" y="0"/>
                      <a:pt x="73" y="0"/>
                    </a:cubicBezTo>
                    <a:cubicBezTo>
                      <a:pt x="33" y="0"/>
                      <a:pt x="0" y="33"/>
                      <a:pt x="0" y="73"/>
                    </a:cubicBezTo>
                    <a:cubicBezTo>
                      <a:pt x="0" y="559"/>
                      <a:pt x="0" y="559"/>
                      <a:pt x="0" y="559"/>
                    </a:cubicBezTo>
                    <a:cubicBezTo>
                      <a:pt x="0" y="599"/>
                      <a:pt x="33" y="632"/>
                      <a:pt x="73" y="632"/>
                    </a:cubicBezTo>
                    <a:cubicBezTo>
                      <a:pt x="421" y="632"/>
                      <a:pt x="421" y="632"/>
                      <a:pt x="421" y="632"/>
                    </a:cubicBezTo>
                    <a:cubicBezTo>
                      <a:pt x="421" y="694"/>
                      <a:pt x="421" y="694"/>
                      <a:pt x="421" y="694"/>
                    </a:cubicBezTo>
                    <a:cubicBezTo>
                      <a:pt x="281" y="694"/>
                      <a:pt x="281" y="694"/>
                      <a:pt x="281" y="694"/>
                    </a:cubicBezTo>
                    <a:cubicBezTo>
                      <a:pt x="268" y="694"/>
                      <a:pt x="257" y="705"/>
                      <a:pt x="257" y="718"/>
                    </a:cubicBezTo>
                    <a:cubicBezTo>
                      <a:pt x="257" y="731"/>
                      <a:pt x="268" y="742"/>
                      <a:pt x="281" y="742"/>
                    </a:cubicBezTo>
                    <a:cubicBezTo>
                      <a:pt x="608" y="742"/>
                      <a:pt x="608" y="742"/>
                      <a:pt x="608" y="742"/>
                    </a:cubicBezTo>
                    <a:cubicBezTo>
                      <a:pt x="621" y="742"/>
                      <a:pt x="632" y="731"/>
                      <a:pt x="632" y="718"/>
                    </a:cubicBezTo>
                    <a:cubicBezTo>
                      <a:pt x="632" y="705"/>
                      <a:pt x="621" y="694"/>
                      <a:pt x="608" y="694"/>
                    </a:cubicBezTo>
                    <a:cubicBezTo>
                      <a:pt x="469" y="694"/>
                      <a:pt x="469" y="694"/>
                      <a:pt x="469" y="694"/>
                    </a:cubicBezTo>
                    <a:cubicBezTo>
                      <a:pt x="469" y="632"/>
                      <a:pt x="469" y="632"/>
                      <a:pt x="469" y="632"/>
                    </a:cubicBezTo>
                    <a:cubicBezTo>
                      <a:pt x="816" y="632"/>
                      <a:pt x="816" y="632"/>
                      <a:pt x="816" y="632"/>
                    </a:cubicBezTo>
                    <a:cubicBezTo>
                      <a:pt x="857" y="632"/>
                      <a:pt x="890" y="599"/>
                      <a:pt x="890" y="559"/>
                    </a:cubicBezTo>
                    <a:cubicBezTo>
                      <a:pt x="890" y="73"/>
                      <a:pt x="890" y="73"/>
                      <a:pt x="890" y="73"/>
                    </a:cubicBezTo>
                    <a:cubicBezTo>
                      <a:pt x="890" y="33"/>
                      <a:pt x="857" y="0"/>
                      <a:pt x="816" y="0"/>
                    </a:cubicBezTo>
                    <a:close/>
                    <a:moveTo>
                      <a:pt x="73" y="48"/>
                    </a:moveTo>
                    <a:cubicBezTo>
                      <a:pt x="816" y="48"/>
                      <a:pt x="816" y="48"/>
                      <a:pt x="816" y="48"/>
                    </a:cubicBezTo>
                    <a:cubicBezTo>
                      <a:pt x="830" y="48"/>
                      <a:pt x="842" y="59"/>
                      <a:pt x="842" y="73"/>
                    </a:cubicBezTo>
                    <a:cubicBezTo>
                      <a:pt x="842" y="494"/>
                      <a:pt x="842" y="494"/>
                      <a:pt x="842" y="494"/>
                    </a:cubicBezTo>
                    <a:cubicBezTo>
                      <a:pt x="48" y="494"/>
                      <a:pt x="48" y="494"/>
                      <a:pt x="48" y="494"/>
                    </a:cubicBezTo>
                    <a:cubicBezTo>
                      <a:pt x="48" y="73"/>
                      <a:pt x="48" y="73"/>
                      <a:pt x="48" y="73"/>
                    </a:cubicBezTo>
                    <a:cubicBezTo>
                      <a:pt x="48" y="59"/>
                      <a:pt x="59" y="48"/>
                      <a:pt x="73" y="48"/>
                    </a:cubicBezTo>
                    <a:close/>
                    <a:moveTo>
                      <a:pt x="816" y="584"/>
                    </a:moveTo>
                    <a:cubicBezTo>
                      <a:pt x="73" y="584"/>
                      <a:pt x="73" y="584"/>
                      <a:pt x="73" y="584"/>
                    </a:cubicBezTo>
                    <a:cubicBezTo>
                      <a:pt x="59" y="584"/>
                      <a:pt x="48" y="573"/>
                      <a:pt x="48" y="559"/>
                    </a:cubicBezTo>
                    <a:cubicBezTo>
                      <a:pt x="48" y="542"/>
                      <a:pt x="48" y="542"/>
                      <a:pt x="48" y="542"/>
                    </a:cubicBezTo>
                    <a:cubicBezTo>
                      <a:pt x="842" y="542"/>
                      <a:pt x="842" y="542"/>
                      <a:pt x="842" y="542"/>
                    </a:cubicBezTo>
                    <a:cubicBezTo>
                      <a:pt x="842" y="559"/>
                      <a:pt x="842" y="559"/>
                      <a:pt x="842" y="559"/>
                    </a:cubicBezTo>
                    <a:cubicBezTo>
                      <a:pt x="842" y="573"/>
                      <a:pt x="830" y="584"/>
                      <a:pt x="816" y="5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600">
                  <a:solidFill>
                    <a:srgbClr val="2B3A42"/>
                  </a:solidFill>
                </a:endParaRPr>
              </a:p>
            </p:txBody>
          </p: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F46500E0-5566-482F-8274-BF88A0EB93A3}"/>
                  </a:ext>
                </a:extLst>
              </p:cNvPr>
              <p:cNvGrpSpPr/>
              <p:nvPr/>
            </p:nvGrpSpPr>
            <p:grpSpPr>
              <a:xfrm>
                <a:off x="-1623393" y="1569896"/>
                <a:ext cx="869644" cy="1005562"/>
                <a:chOff x="-2536825" y="1144588"/>
                <a:chExt cx="2397125" cy="2771775"/>
              </a:xfrm>
              <a:grpFill/>
            </p:grpSpPr>
            <p:sp>
              <p:nvSpPr>
                <p:cNvPr id="69" name="Freeform 42">
                  <a:extLst>
                    <a:ext uri="{FF2B5EF4-FFF2-40B4-BE49-F238E27FC236}">
                      <a16:creationId xmlns:a16="http://schemas.microsoft.com/office/drawing/2014/main" id="{8589E272-6382-42F0-A3A7-18129A74FE3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2536825" y="1144588"/>
                  <a:ext cx="2397125" cy="2771775"/>
                </a:xfrm>
                <a:custGeom>
                  <a:avLst/>
                  <a:gdLst>
                    <a:gd name="T0" fmla="*/ 48 w 637"/>
                    <a:gd name="T1" fmla="*/ 737 h 737"/>
                    <a:gd name="T2" fmla="*/ 130 w 637"/>
                    <a:gd name="T3" fmla="*/ 487 h 737"/>
                    <a:gd name="T4" fmla="*/ 319 w 637"/>
                    <a:gd name="T5" fmla="*/ 403 h 737"/>
                    <a:gd name="T6" fmla="*/ 507 w 637"/>
                    <a:gd name="T7" fmla="*/ 487 h 737"/>
                    <a:gd name="T8" fmla="*/ 589 w 637"/>
                    <a:gd name="T9" fmla="*/ 737 h 737"/>
                    <a:gd name="T10" fmla="*/ 637 w 637"/>
                    <a:gd name="T11" fmla="*/ 737 h 737"/>
                    <a:gd name="T12" fmla="*/ 543 w 637"/>
                    <a:gd name="T13" fmla="*/ 455 h 737"/>
                    <a:gd name="T14" fmla="*/ 416 w 637"/>
                    <a:gd name="T15" fmla="*/ 371 h 737"/>
                    <a:gd name="T16" fmla="*/ 517 w 637"/>
                    <a:gd name="T17" fmla="*/ 199 h 737"/>
                    <a:gd name="T18" fmla="*/ 319 w 637"/>
                    <a:gd name="T19" fmla="*/ 0 h 737"/>
                    <a:gd name="T20" fmla="*/ 120 w 637"/>
                    <a:gd name="T21" fmla="*/ 199 h 737"/>
                    <a:gd name="T22" fmla="*/ 221 w 637"/>
                    <a:gd name="T23" fmla="*/ 371 h 737"/>
                    <a:gd name="T24" fmla="*/ 94 w 637"/>
                    <a:gd name="T25" fmla="*/ 455 h 737"/>
                    <a:gd name="T26" fmla="*/ 0 w 637"/>
                    <a:gd name="T27" fmla="*/ 737 h 737"/>
                    <a:gd name="T28" fmla="*/ 48 w 637"/>
                    <a:gd name="T29" fmla="*/ 737 h 737"/>
                    <a:gd name="T30" fmla="*/ 168 w 637"/>
                    <a:gd name="T31" fmla="*/ 199 h 737"/>
                    <a:gd name="T32" fmla="*/ 319 w 637"/>
                    <a:gd name="T33" fmla="*/ 48 h 737"/>
                    <a:gd name="T34" fmla="*/ 469 w 637"/>
                    <a:gd name="T35" fmla="*/ 199 h 737"/>
                    <a:gd name="T36" fmla="*/ 319 w 637"/>
                    <a:gd name="T37" fmla="*/ 349 h 737"/>
                    <a:gd name="T38" fmla="*/ 168 w 637"/>
                    <a:gd name="T39" fmla="*/ 199 h 7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37" h="737">
                      <a:moveTo>
                        <a:pt x="48" y="737"/>
                      </a:moveTo>
                      <a:cubicBezTo>
                        <a:pt x="48" y="633"/>
                        <a:pt x="76" y="547"/>
                        <a:pt x="130" y="487"/>
                      </a:cubicBezTo>
                      <a:cubicBezTo>
                        <a:pt x="178" y="433"/>
                        <a:pt x="245" y="403"/>
                        <a:pt x="319" y="403"/>
                      </a:cubicBezTo>
                      <a:cubicBezTo>
                        <a:pt x="392" y="403"/>
                        <a:pt x="459" y="433"/>
                        <a:pt x="507" y="487"/>
                      </a:cubicBezTo>
                      <a:cubicBezTo>
                        <a:pt x="561" y="547"/>
                        <a:pt x="589" y="633"/>
                        <a:pt x="589" y="737"/>
                      </a:cubicBezTo>
                      <a:cubicBezTo>
                        <a:pt x="637" y="737"/>
                        <a:pt x="637" y="737"/>
                        <a:pt x="637" y="737"/>
                      </a:cubicBezTo>
                      <a:cubicBezTo>
                        <a:pt x="637" y="621"/>
                        <a:pt x="604" y="524"/>
                        <a:pt x="543" y="455"/>
                      </a:cubicBezTo>
                      <a:cubicBezTo>
                        <a:pt x="508" y="416"/>
                        <a:pt x="465" y="387"/>
                        <a:pt x="416" y="371"/>
                      </a:cubicBezTo>
                      <a:cubicBezTo>
                        <a:pt x="476" y="337"/>
                        <a:pt x="517" y="272"/>
                        <a:pt x="517" y="199"/>
                      </a:cubicBezTo>
                      <a:cubicBezTo>
                        <a:pt x="517" y="89"/>
                        <a:pt x="428" y="0"/>
                        <a:pt x="319" y="0"/>
                      </a:cubicBezTo>
                      <a:cubicBezTo>
                        <a:pt x="209" y="0"/>
                        <a:pt x="120" y="89"/>
                        <a:pt x="120" y="199"/>
                      </a:cubicBezTo>
                      <a:cubicBezTo>
                        <a:pt x="120" y="272"/>
                        <a:pt x="161" y="337"/>
                        <a:pt x="221" y="371"/>
                      </a:cubicBezTo>
                      <a:cubicBezTo>
                        <a:pt x="172" y="387"/>
                        <a:pt x="129" y="416"/>
                        <a:pt x="94" y="455"/>
                      </a:cubicBezTo>
                      <a:cubicBezTo>
                        <a:pt x="33" y="524"/>
                        <a:pt x="0" y="621"/>
                        <a:pt x="0" y="737"/>
                      </a:cubicBezTo>
                      <a:lnTo>
                        <a:pt x="48" y="737"/>
                      </a:lnTo>
                      <a:close/>
                      <a:moveTo>
                        <a:pt x="168" y="199"/>
                      </a:moveTo>
                      <a:cubicBezTo>
                        <a:pt x="168" y="116"/>
                        <a:pt x="236" y="48"/>
                        <a:pt x="319" y="48"/>
                      </a:cubicBezTo>
                      <a:cubicBezTo>
                        <a:pt x="401" y="48"/>
                        <a:pt x="469" y="116"/>
                        <a:pt x="469" y="199"/>
                      </a:cubicBezTo>
                      <a:cubicBezTo>
                        <a:pt x="469" y="281"/>
                        <a:pt x="401" y="349"/>
                        <a:pt x="319" y="349"/>
                      </a:cubicBezTo>
                      <a:cubicBezTo>
                        <a:pt x="236" y="349"/>
                        <a:pt x="168" y="281"/>
                        <a:pt x="168" y="19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3600">
                    <a:solidFill>
                      <a:srgbClr val="43B02A"/>
                    </a:solidFill>
                  </a:endParaRPr>
                </a:p>
              </p:txBody>
            </p:sp>
            <p:sp>
              <p:nvSpPr>
                <p:cNvPr id="70" name="Freeform 43">
                  <a:extLst>
                    <a:ext uri="{FF2B5EF4-FFF2-40B4-BE49-F238E27FC236}">
                      <a16:creationId xmlns:a16="http://schemas.microsoft.com/office/drawing/2014/main" id="{02D5B2D9-A19D-40E9-8385-BD457529D4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1606104" y="1911350"/>
                  <a:ext cx="609600" cy="312736"/>
                </a:xfrm>
                <a:custGeom>
                  <a:avLst/>
                  <a:gdLst>
                    <a:gd name="T0" fmla="*/ 155 w 162"/>
                    <a:gd name="T1" fmla="*/ 41 h 83"/>
                    <a:gd name="T2" fmla="*/ 148 w 162"/>
                    <a:gd name="T3" fmla="*/ 8 h 83"/>
                    <a:gd name="T4" fmla="*/ 115 w 162"/>
                    <a:gd name="T5" fmla="*/ 14 h 83"/>
                    <a:gd name="T6" fmla="*/ 81 w 162"/>
                    <a:gd name="T7" fmla="*/ 35 h 83"/>
                    <a:gd name="T8" fmla="*/ 81 w 162"/>
                    <a:gd name="T9" fmla="*/ 35 h 83"/>
                    <a:gd name="T10" fmla="*/ 48 w 162"/>
                    <a:gd name="T11" fmla="*/ 15 h 83"/>
                    <a:gd name="T12" fmla="*/ 15 w 162"/>
                    <a:gd name="T13" fmla="*/ 7 h 83"/>
                    <a:gd name="T14" fmla="*/ 7 w 162"/>
                    <a:gd name="T15" fmla="*/ 40 h 83"/>
                    <a:gd name="T16" fmla="*/ 81 w 162"/>
                    <a:gd name="T17" fmla="*/ 83 h 83"/>
                    <a:gd name="T18" fmla="*/ 81 w 162"/>
                    <a:gd name="T19" fmla="*/ 83 h 83"/>
                    <a:gd name="T20" fmla="*/ 155 w 162"/>
                    <a:gd name="T21" fmla="*/ 41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2" h="83">
                      <a:moveTo>
                        <a:pt x="155" y="41"/>
                      </a:moveTo>
                      <a:cubicBezTo>
                        <a:pt x="162" y="30"/>
                        <a:pt x="159" y="15"/>
                        <a:pt x="148" y="8"/>
                      </a:cubicBezTo>
                      <a:cubicBezTo>
                        <a:pt x="137" y="0"/>
                        <a:pt x="122" y="3"/>
                        <a:pt x="115" y="14"/>
                      </a:cubicBezTo>
                      <a:cubicBezTo>
                        <a:pt x="102" y="35"/>
                        <a:pt x="82" y="35"/>
                        <a:pt x="81" y="35"/>
                      </a:cubicBezTo>
                      <a:cubicBezTo>
                        <a:pt x="81" y="35"/>
                        <a:pt x="81" y="35"/>
                        <a:pt x="81" y="35"/>
                      </a:cubicBezTo>
                      <a:cubicBezTo>
                        <a:pt x="72" y="35"/>
                        <a:pt x="58" y="31"/>
                        <a:pt x="48" y="15"/>
                      </a:cubicBezTo>
                      <a:cubicBezTo>
                        <a:pt x="41" y="4"/>
                        <a:pt x="26" y="0"/>
                        <a:pt x="15" y="7"/>
                      </a:cubicBezTo>
                      <a:cubicBezTo>
                        <a:pt x="4" y="14"/>
                        <a:pt x="0" y="29"/>
                        <a:pt x="7" y="40"/>
                      </a:cubicBezTo>
                      <a:cubicBezTo>
                        <a:pt x="24" y="67"/>
                        <a:pt x="51" y="83"/>
                        <a:pt x="81" y="83"/>
                      </a:cubicBezTo>
                      <a:cubicBezTo>
                        <a:pt x="81" y="83"/>
                        <a:pt x="81" y="83"/>
                        <a:pt x="81" y="83"/>
                      </a:cubicBezTo>
                      <a:cubicBezTo>
                        <a:pt x="89" y="83"/>
                        <a:pt x="129" y="81"/>
                        <a:pt x="155" y="4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3600">
                    <a:solidFill>
                      <a:srgbClr val="43B02A"/>
                    </a:solidFill>
                  </a:endParaRPr>
                </a:p>
              </p:txBody>
            </p:sp>
          </p:grp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87BA952-B737-463D-AF57-AADDF2915D80}"/>
              </a:ext>
            </a:extLst>
          </p:cNvPr>
          <p:cNvGrpSpPr/>
          <p:nvPr/>
        </p:nvGrpSpPr>
        <p:grpSpPr>
          <a:xfrm>
            <a:off x="7653878" y="1332207"/>
            <a:ext cx="919892" cy="945375"/>
            <a:chOff x="16301310" y="3689145"/>
            <a:chExt cx="1839783" cy="1890748"/>
          </a:xfrm>
        </p:grpSpPr>
        <p:sp>
          <p:nvSpPr>
            <p:cNvPr id="71" name="Freeform 141">
              <a:extLst>
                <a:ext uri="{FF2B5EF4-FFF2-40B4-BE49-F238E27FC236}">
                  <a16:creationId xmlns:a16="http://schemas.microsoft.com/office/drawing/2014/main" id="{3F31EA0A-47EA-4CD3-8B8A-F3EE3E2AD497}"/>
                </a:ext>
              </a:extLst>
            </p:cNvPr>
            <p:cNvSpPr/>
            <p:nvPr/>
          </p:nvSpPr>
          <p:spPr>
            <a:xfrm>
              <a:off x="16301310" y="3689145"/>
              <a:ext cx="1839783" cy="1839782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1816" tIns="211816" rIns="211816" bIns="211816" numCol="1" spcCol="1270" anchor="ctr" anchorCtr="0">
              <a:noAutofit/>
            </a:bodyPr>
            <a:lstStyle/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600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4667231A-BC24-4E1F-83A3-18F8E4BB4B7F}"/>
                </a:ext>
              </a:extLst>
            </p:cNvPr>
            <p:cNvSpPr txBox="1"/>
            <p:nvPr/>
          </p:nvSpPr>
          <p:spPr>
            <a:xfrm>
              <a:off x="16591376" y="4656564"/>
              <a:ext cx="1292661" cy="923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/>
                <a:t>ePRO/</a:t>
              </a:r>
              <a:endParaRPr lang="en-US" sz="1200" b="1" dirty="0">
                <a:solidFill>
                  <a:srgbClr val="FFFFFF"/>
                </a:solidFill>
                <a:latin typeface="Arial" panose="020B0604020202020204"/>
              </a:endParaRPr>
            </a:p>
            <a:p>
              <a:r>
                <a:rPr lang="en-US" sz="1200" b="1" dirty="0" err="1"/>
                <a:t>eCOA</a:t>
              </a:r>
              <a:endParaRPr lang="en-US" sz="1200" b="1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4C6EC7D-97D2-482D-94F2-FE24E7C5632B}"/>
              </a:ext>
            </a:extLst>
          </p:cNvPr>
          <p:cNvGrpSpPr/>
          <p:nvPr/>
        </p:nvGrpSpPr>
        <p:grpSpPr>
          <a:xfrm>
            <a:off x="5855518" y="719750"/>
            <a:ext cx="888805" cy="888610"/>
            <a:chOff x="11711036" y="1439500"/>
            <a:chExt cx="1777609" cy="1777219"/>
          </a:xfrm>
        </p:grpSpPr>
        <p:sp>
          <p:nvSpPr>
            <p:cNvPr id="77" name="Freeform 141">
              <a:extLst>
                <a:ext uri="{FF2B5EF4-FFF2-40B4-BE49-F238E27FC236}">
                  <a16:creationId xmlns:a16="http://schemas.microsoft.com/office/drawing/2014/main" id="{F40B7C0F-9B08-47B6-9036-CE1A82170F73}"/>
                </a:ext>
              </a:extLst>
            </p:cNvPr>
            <p:cNvSpPr/>
            <p:nvPr/>
          </p:nvSpPr>
          <p:spPr>
            <a:xfrm>
              <a:off x="11711036" y="1439500"/>
              <a:ext cx="1777609" cy="1777219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1816" tIns="211816" rIns="211816" bIns="211816" numCol="1" spcCol="1270" anchor="ctr" anchorCtr="0">
              <a:noAutofit/>
            </a:bodyPr>
            <a:lstStyle/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600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216D2F02-EAAA-4A35-89CE-DC18A325C110}"/>
                </a:ext>
              </a:extLst>
            </p:cNvPr>
            <p:cNvSpPr txBox="1"/>
            <p:nvPr/>
          </p:nvSpPr>
          <p:spPr>
            <a:xfrm>
              <a:off x="11851470" y="2559673"/>
              <a:ext cx="1581201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/>
                <a:t>eSource</a:t>
              </a: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5D67BDA8-ACD5-4F9D-8E10-A8246EF441C6}"/>
              </a:ext>
            </a:extLst>
          </p:cNvPr>
          <p:cNvGrpSpPr/>
          <p:nvPr/>
        </p:nvGrpSpPr>
        <p:grpSpPr>
          <a:xfrm>
            <a:off x="3281872" y="4667999"/>
            <a:ext cx="942043" cy="940982"/>
            <a:chOff x="6613139" y="9359886"/>
            <a:chExt cx="1884086" cy="1881963"/>
          </a:xfrm>
        </p:grpSpPr>
        <p:sp>
          <p:nvSpPr>
            <p:cNvPr id="81" name="Freeform 143">
              <a:extLst>
                <a:ext uri="{FF2B5EF4-FFF2-40B4-BE49-F238E27FC236}">
                  <a16:creationId xmlns:a16="http://schemas.microsoft.com/office/drawing/2014/main" id="{8A8204DA-DA8E-45B8-A439-510A9A06419D}"/>
                </a:ext>
              </a:extLst>
            </p:cNvPr>
            <p:cNvSpPr/>
            <p:nvPr/>
          </p:nvSpPr>
          <p:spPr>
            <a:xfrm>
              <a:off x="6615262" y="9359886"/>
              <a:ext cx="1881963" cy="1881963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FFC000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8646" tIns="248646" rIns="248646" bIns="248646" numCol="1" spcCol="1270" anchor="ctr" anchorCtr="0">
              <a:noAutofit/>
            </a:bodyPr>
            <a:lstStyle/>
            <a:p>
              <a:pPr algn="ctr" defTabSz="2444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5500"/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78EA7B33-F717-4FAE-9DB9-33710301901D}"/>
                </a:ext>
              </a:extLst>
            </p:cNvPr>
            <p:cNvSpPr txBox="1"/>
            <p:nvPr/>
          </p:nvSpPr>
          <p:spPr>
            <a:xfrm>
              <a:off x="6613139" y="9791086"/>
              <a:ext cx="1874664" cy="12926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/>
                <a:t>AI/ML Predictive</a:t>
              </a:r>
            </a:p>
            <a:p>
              <a:pPr algn="ctr"/>
              <a:r>
                <a:rPr lang="en-US" sz="1200" b="1" dirty="0"/>
                <a:t>Analytics</a:t>
              </a:r>
            </a:p>
          </p:txBody>
        </p:sp>
        <p:pic>
          <p:nvPicPr>
            <p:cNvPr id="83" name="Picture 8" descr="Image result for deep learning neural networks">
              <a:extLst>
                <a:ext uri="{FF2B5EF4-FFF2-40B4-BE49-F238E27FC236}">
                  <a16:creationId xmlns:a16="http://schemas.microsoft.com/office/drawing/2014/main" id="{F07ED960-BD0E-465F-A34E-AE25692416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9252" y="9545887"/>
              <a:ext cx="802436" cy="3224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3902EC1-F447-4B9E-910B-CDCFCE50D15B}"/>
              </a:ext>
            </a:extLst>
          </p:cNvPr>
          <p:cNvSpPr txBox="1"/>
          <p:nvPr/>
        </p:nvSpPr>
        <p:spPr>
          <a:xfrm>
            <a:off x="5945412" y="4254641"/>
            <a:ext cx="924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/>
              </a:rPr>
              <a:t>Patient</a:t>
            </a:r>
            <a:endParaRPr lang="en-US" sz="1400" dirty="0"/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666D2B09-2D18-4802-8547-8CF979B3A53E}"/>
              </a:ext>
            </a:extLst>
          </p:cNvPr>
          <p:cNvGrpSpPr/>
          <p:nvPr/>
        </p:nvGrpSpPr>
        <p:grpSpPr>
          <a:xfrm>
            <a:off x="3017510" y="2769833"/>
            <a:ext cx="940982" cy="940982"/>
            <a:chOff x="6346564" y="6214437"/>
            <a:chExt cx="1881963" cy="188196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D7643842-2168-4A59-BC60-9259C0A22AB3}"/>
                </a:ext>
              </a:extLst>
            </p:cNvPr>
            <p:cNvGrpSpPr/>
            <p:nvPr/>
          </p:nvGrpSpPr>
          <p:grpSpPr>
            <a:xfrm>
              <a:off x="6346564" y="6214437"/>
              <a:ext cx="1881963" cy="1881963"/>
              <a:chOff x="8990929" y="4639946"/>
              <a:chExt cx="1220897" cy="1220897"/>
            </a:xfrm>
          </p:grpSpPr>
          <p:sp>
            <p:nvSpPr>
              <p:cNvPr id="20" name="Freeform 143">
                <a:extLst>
                  <a:ext uri="{FF2B5EF4-FFF2-40B4-BE49-F238E27FC236}">
                    <a16:creationId xmlns:a16="http://schemas.microsoft.com/office/drawing/2014/main" id="{ABFD9823-A771-43BE-AB74-31224D32C6C1}"/>
                  </a:ext>
                </a:extLst>
              </p:cNvPr>
              <p:cNvSpPr/>
              <p:nvPr/>
            </p:nvSpPr>
            <p:spPr>
              <a:xfrm>
                <a:off x="8990929" y="4639946"/>
                <a:ext cx="1220897" cy="1220897"/>
              </a:xfrm>
              <a:custGeom>
                <a:avLst/>
                <a:gdLst>
                  <a:gd name="connsiteX0" fmla="*/ 0 w 1220897"/>
                  <a:gd name="connsiteY0" fmla="*/ 610449 h 1220897"/>
                  <a:gd name="connsiteX1" fmla="*/ 610449 w 1220897"/>
                  <a:gd name="connsiteY1" fmla="*/ 0 h 1220897"/>
                  <a:gd name="connsiteX2" fmla="*/ 1220898 w 1220897"/>
                  <a:gd name="connsiteY2" fmla="*/ 610449 h 1220897"/>
                  <a:gd name="connsiteX3" fmla="*/ 610449 w 1220897"/>
                  <a:gd name="connsiteY3" fmla="*/ 1220898 h 1220897"/>
                  <a:gd name="connsiteX4" fmla="*/ 0 w 1220897"/>
                  <a:gd name="connsiteY4" fmla="*/ 610449 h 1220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0897" h="1220897">
                    <a:moveTo>
                      <a:pt x="0" y="610449"/>
                    </a:moveTo>
                    <a:cubicBezTo>
                      <a:pt x="0" y="273307"/>
                      <a:pt x="273307" y="0"/>
                      <a:pt x="610449" y="0"/>
                    </a:cubicBezTo>
                    <a:cubicBezTo>
                      <a:pt x="947591" y="0"/>
                      <a:pt x="1220898" y="273307"/>
                      <a:pt x="1220898" y="610449"/>
                    </a:cubicBezTo>
                    <a:cubicBezTo>
                      <a:pt x="1220898" y="947591"/>
                      <a:pt x="947591" y="1220898"/>
                      <a:pt x="610449" y="1220898"/>
                    </a:cubicBezTo>
                    <a:cubicBezTo>
                      <a:pt x="273307" y="1220898"/>
                      <a:pt x="0" y="947591"/>
                      <a:pt x="0" y="610449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accent4"/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48646" tIns="248646" rIns="248646" bIns="248646" numCol="1" spcCol="1270" anchor="ctr" anchorCtr="0">
                <a:noAutofit/>
              </a:bodyPr>
              <a:lstStyle/>
              <a:p>
                <a:pPr algn="ctr" defTabSz="2444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550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C2948E8-19E9-47D0-9A7E-A2E0573046FE}"/>
                  </a:ext>
                </a:extLst>
              </p:cNvPr>
              <p:cNvSpPr/>
              <p:nvPr/>
            </p:nvSpPr>
            <p:spPr>
              <a:xfrm>
                <a:off x="9007389" y="5155327"/>
                <a:ext cx="1170054" cy="64691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 defTabSz="1244600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en-US" sz="1200" b="1" dirty="0"/>
                  <a:t>Disease Specific</a:t>
                </a:r>
                <a:br>
                  <a:rPr lang="en-US" sz="1200" b="1" dirty="0"/>
                </a:br>
                <a:r>
                  <a:rPr lang="en-US" sz="1200" b="1" dirty="0"/>
                  <a:t>Apps</a:t>
                </a:r>
              </a:p>
            </p:txBody>
          </p: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3FA5AEF8-9C2E-446F-AFF5-560A5601E2AB}"/>
                </a:ext>
              </a:extLst>
            </p:cNvPr>
            <p:cNvGrpSpPr/>
            <p:nvPr/>
          </p:nvGrpSpPr>
          <p:grpSpPr>
            <a:xfrm>
              <a:off x="7083377" y="6334657"/>
              <a:ext cx="405868" cy="674220"/>
              <a:chOff x="7896225" y="1724025"/>
              <a:chExt cx="2122488" cy="3525838"/>
            </a:xfrm>
            <a:solidFill>
              <a:schemeClr val="tx2"/>
            </a:solidFill>
          </p:grpSpPr>
          <p:sp>
            <p:nvSpPr>
              <p:cNvPr id="85" name="Freeform 70">
                <a:extLst>
                  <a:ext uri="{FF2B5EF4-FFF2-40B4-BE49-F238E27FC236}">
                    <a16:creationId xmlns:a16="http://schemas.microsoft.com/office/drawing/2014/main" id="{8D333737-44D0-4318-85D8-696EA75105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96225" y="1724025"/>
                <a:ext cx="2122488" cy="3525838"/>
              </a:xfrm>
              <a:custGeom>
                <a:avLst/>
                <a:gdLst>
                  <a:gd name="T0" fmla="*/ 93 w 564"/>
                  <a:gd name="T1" fmla="*/ 938 h 938"/>
                  <a:gd name="T2" fmla="*/ 472 w 564"/>
                  <a:gd name="T3" fmla="*/ 938 h 938"/>
                  <a:gd name="T4" fmla="*/ 564 w 564"/>
                  <a:gd name="T5" fmla="*/ 846 h 938"/>
                  <a:gd name="T6" fmla="*/ 564 w 564"/>
                  <a:gd name="T7" fmla="*/ 93 h 938"/>
                  <a:gd name="T8" fmla="*/ 472 w 564"/>
                  <a:gd name="T9" fmla="*/ 0 h 938"/>
                  <a:gd name="T10" fmla="*/ 93 w 564"/>
                  <a:gd name="T11" fmla="*/ 0 h 938"/>
                  <a:gd name="T12" fmla="*/ 0 w 564"/>
                  <a:gd name="T13" fmla="*/ 93 h 938"/>
                  <a:gd name="T14" fmla="*/ 0 w 564"/>
                  <a:gd name="T15" fmla="*/ 846 h 938"/>
                  <a:gd name="T16" fmla="*/ 93 w 564"/>
                  <a:gd name="T17" fmla="*/ 938 h 938"/>
                  <a:gd name="T18" fmla="*/ 48 w 564"/>
                  <a:gd name="T19" fmla="*/ 93 h 938"/>
                  <a:gd name="T20" fmla="*/ 93 w 564"/>
                  <a:gd name="T21" fmla="*/ 48 h 938"/>
                  <a:gd name="T22" fmla="*/ 472 w 564"/>
                  <a:gd name="T23" fmla="*/ 48 h 938"/>
                  <a:gd name="T24" fmla="*/ 516 w 564"/>
                  <a:gd name="T25" fmla="*/ 93 h 938"/>
                  <a:gd name="T26" fmla="*/ 516 w 564"/>
                  <a:gd name="T27" fmla="*/ 129 h 938"/>
                  <a:gd name="T28" fmla="*/ 48 w 564"/>
                  <a:gd name="T29" fmla="*/ 129 h 938"/>
                  <a:gd name="T30" fmla="*/ 48 w 564"/>
                  <a:gd name="T31" fmla="*/ 93 h 938"/>
                  <a:gd name="T32" fmla="*/ 48 w 564"/>
                  <a:gd name="T33" fmla="*/ 177 h 938"/>
                  <a:gd name="T34" fmla="*/ 516 w 564"/>
                  <a:gd name="T35" fmla="*/ 177 h 938"/>
                  <a:gd name="T36" fmla="*/ 516 w 564"/>
                  <a:gd name="T37" fmla="*/ 764 h 938"/>
                  <a:gd name="T38" fmla="*/ 48 w 564"/>
                  <a:gd name="T39" fmla="*/ 764 h 938"/>
                  <a:gd name="T40" fmla="*/ 48 w 564"/>
                  <a:gd name="T41" fmla="*/ 177 h 938"/>
                  <a:gd name="T42" fmla="*/ 48 w 564"/>
                  <a:gd name="T43" fmla="*/ 812 h 938"/>
                  <a:gd name="T44" fmla="*/ 516 w 564"/>
                  <a:gd name="T45" fmla="*/ 812 h 938"/>
                  <a:gd name="T46" fmla="*/ 516 w 564"/>
                  <a:gd name="T47" fmla="*/ 846 h 938"/>
                  <a:gd name="T48" fmla="*/ 472 w 564"/>
                  <a:gd name="T49" fmla="*/ 890 h 938"/>
                  <a:gd name="T50" fmla="*/ 93 w 564"/>
                  <a:gd name="T51" fmla="*/ 890 h 938"/>
                  <a:gd name="T52" fmla="*/ 48 w 564"/>
                  <a:gd name="T53" fmla="*/ 846 h 938"/>
                  <a:gd name="T54" fmla="*/ 48 w 564"/>
                  <a:gd name="T55" fmla="*/ 812 h 9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64" h="938">
                    <a:moveTo>
                      <a:pt x="93" y="938"/>
                    </a:moveTo>
                    <a:cubicBezTo>
                      <a:pt x="472" y="938"/>
                      <a:pt x="472" y="938"/>
                      <a:pt x="472" y="938"/>
                    </a:cubicBezTo>
                    <a:cubicBezTo>
                      <a:pt x="523" y="938"/>
                      <a:pt x="564" y="897"/>
                      <a:pt x="564" y="846"/>
                    </a:cubicBezTo>
                    <a:cubicBezTo>
                      <a:pt x="564" y="93"/>
                      <a:pt x="564" y="93"/>
                      <a:pt x="564" y="93"/>
                    </a:cubicBezTo>
                    <a:cubicBezTo>
                      <a:pt x="564" y="42"/>
                      <a:pt x="523" y="0"/>
                      <a:pt x="472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42" y="0"/>
                      <a:pt x="0" y="42"/>
                      <a:pt x="0" y="93"/>
                    </a:cubicBezTo>
                    <a:cubicBezTo>
                      <a:pt x="0" y="846"/>
                      <a:pt x="0" y="846"/>
                      <a:pt x="0" y="846"/>
                    </a:cubicBezTo>
                    <a:cubicBezTo>
                      <a:pt x="0" y="897"/>
                      <a:pt x="42" y="938"/>
                      <a:pt x="93" y="938"/>
                    </a:cubicBezTo>
                    <a:close/>
                    <a:moveTo>
                      <a:pt x="48" y="93"/>
                    </a:moveTo>
                    <a:cubicBezTo>
                      <a:pt x="48" y="68"/>
                      <a:pt x="68" y="48"/>
                      <a:pt x="93" y="48"/>
                    </a:cubicBezTo>
                    <a:cubicBezTo>
                      <a:pt x="472" y="48"/>
                      <a:pt x="472" y="48"/>
                      <a:pt x="472" y="48"/>
                    </a:cubicBezTo>
                    <a:cubicBezTo>
                      <a:pt x="496" y="48"/>
                      <a:pt x="516" y="68"/>
                      <a:pt x="516" y="93"/>
                    </a:cubicBezTo>
                    <a:cubicBezTo>
                      <a:pt x="516" y="129"/>
                      <a:pt x="516" y="129"/>
                      <a:pt x="516" y="129"/>
                    </a:cubicBezTo>
                    <a:cubicBezTo>
                      <a:pt x="48" y="129"/>
                      <a:pt x="48" y="129"/>
                      <a:pt x="48" y="129"/>
                    </a:cubicBezTo>
                    <a:lnTo>
                      <a:pt x="48" y="93"/>
                    </a:lnTo>
                    <a:close/>
                    <a:moveTo>
                      <a:pt x="48" y="177"/>
                    </a:moveTo>
                    <a:cubicBezTo>
                      <a:pt x="516" y="177"/>
                      <a:pt x="516" y="177"/>
                      <a:pt x="516" y="177"/>
                    </a:cubicBezTo>
                    <a:cubicBezTo>
                      <a:pt x="516" y="764"/>
                      <a:pt x="516" y="764"/>
                      <a:pt x="516" y="764"/>
                    </a:cubicBezTo>
                    <a:cubicBezTo>
                      <a:pt x="48" y="764"/>
                      <a:pt x="48" y="764"/>
                      <a:pt x="48" y="764"/>
                    </a:cubicBezTo>
                    <a:lnTo>
                      <a:pt x="48" y="177"/>
                    </a:lnTo>
                    <a:close/>
                    <a:moveTo>
                      <a:pt x="48" y="812"/>
                    </a:moveTo>
                    <a:cubicBezTo>
                      <a:pt x="516" y="812"/>
                      <a:pt x="516" y="812"/>
                      <a:pt x="516" y="812"/>
                    </a:cubicBezTo>
                    <a:cubicBezTo>
                      <a:pt x="516" y="846"/>
                      <a:pt x="516" y="846"/>
                      <a:pt x="516" y="846"/>
                    </a:cubicBezTo>
                    <a:cubicBezTo>
                      <a:pt x="516" y="870"/>
                      <a:pt x="496" y="890"/>
                      <a:pt x="472" y="890"/>
                    </a:cubicBezTo>
                    <a:cubicBezTo>
                      <a:pt x="93" y="890"/>
                      <a:pt x="93" y="890"/>
                      <a:pt x="93" y="890"/>
                    </a:cubicBezTo>
                    <a:cubicBezTo>
                      <a:pt x="68" y="890"/>
                      <a:pt x="48" y="870"/>
                      <a:pt x="48" y="846"/>
                    </a:cubicBezTo>
                    <a:lnTo>
                      <a:pt x="48" y="8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  <p:sp>
            <p:nvSpPr>
              <p:cNvPr id="86" name="Freeform 71">
                <a:extLst>
                  <a:ext uri="{FF2B5EF4-FFF2-40B4-BE49-F238E27FC236}">
                    <a16:creationId xmlns:a16="http://schemas.microsoft.com/office/drawing/2014/main" id="{B159F543-CC52-4A59-95AA-876F2341C5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0075" y="2667000"/>
                <a:ext cx="1474788" cy="1530350"/>
              </a:xfrm>
              <a:custGeom>
                <a:avLst/>
                <a:gdLst>
                  <a:gd name="T0" fmla="*/ 117 w 392"/>
                  <a:gd name="T1" fmla="*/ 48 h 407"/>
                  <a:gd name="T2" fmla="*/ 175 w 392"/>
                  <a:gd name="T3" fmla="*/ 86 h 407"/>
                  <a:gd name="T4" fmla="*/ 194 w 392"/>
                  <a:gd name="T5" fmla="*/ 98 h 407"/>
                  <a:gd name="T6" fmla="*/ 195 w 392"/>
                  <a:gd name="T7" fmla="*/ 98 h 407"/>
                  <a:gd name="T8" fmla="*/ 196 w 392"/>
                  <a:gd name="T9" fmla="*/ 98 h 407"/>
                  <a:gd name="T10" fmla="*/ 196 w 392"/>
                  <a:gd name="T11" fmla="*/ 98 h 407"/>
                  <a:gd name="T12" fmla="*/ 196 w 392"/>
                  <a:gd name="T13" fmla="*/ 98 h 407"/>
                  <a:gd name="T14" fmla="*/ 197 w 392"/>
                  <a:gd name="T15" fmla="*/ 98 h 407"/>
                  <a:gd name="T16" fmla="*/ 199 w 392"/>
                  <a:gd name="T17" fmla="*/ 98 h 407"/>
                  <a:gd name="T18" fmla="*/ 217 w 392"/>
                  <a:gd name="T19" fmla="*/ 86 h 407"/>
                  <a:gd name="T20" fmla="*/ 275 w 392"/>
                  <a:gd name="T21" fmla="*/ 48 h 407"/>
                  <a:gd name="T22" fmla="*/ 344 w 392"/>
                  <a:gd name="T23" fmla="*/ 134 h 407"/>
                  <a:gd name="T24" fmla="*/ 368 w 392"/>
                  <a:gd name="T25" fmla="*/ 158 h 407"/>
                  <a:gd name="T26" fmla="*/ 392 w 392"/>
                  <a:gd name="T27" fmla="*/ 134 h 407"/>
                  <a:gd name="T28" fmla="*/ 275 w 392"/>
                  <a:gd name="T29" fmla="*/ 0 h 407"/>
                  <a:gd name="T30" fmla="*/ 196 w 392"/>
                  <a:gd name="T31" fmla="*/ 34 h 407"/>
                  <a:gd name="T32" fmla="*/ 117 w 392"/>
                  <a:gd name="T33" fmla="*/ 0 h 407"/>
                  <a:gd name="T34" fmla="*/ 0 w 392"/>
                  <a:gd name="T35" fmla="*/ 134 h 407"/>
                  <a:gd name="T36" fmla="*/ 39 w 392"/>
                  <a:gd name="T37" fmla="*/ 234 h 407"/>
                  <a:gd name="T38" fmla="*/ 40 w 392"/>
                  <a:gd name="T39" fmla="*/ 235 h 407"/>
                  <a:gd name="T40" fmla="*/ 178 w 392"/>
                  <a:gd name="T41" fmla="*/ 398 h 407"/>
                  <a:gd name="T42" fmla="*/ 196 w 392"/>
                  <a:gd name="T43" fmla="*/ 407 h 407"/>
                  <a:gd name="T44" fmla="*/ 196 w 392"/>
                  <a:gd name="T45" fmla="*/ 407 h 407"/>
                  <a:gd name="T46" fmla="*/ 220 w 392"/>
                  <a:gd name="T47" fmla="*/ 383 h 407"/>
                  <a:gd name="T48" fmla="*/ 213 w 392"/>
                  <a:gd name="T49" fmla="*/ 366 h 407"/>
                  <a:gd name="T50" fmla="*/ 113 w 392"/>
                  <a:gd name="T51" fmla="*/ 248 h 407"/>
                  <a:gd name="T52" fmla="*/ 138 w 392"/>
                  <a:gd name="T53" fmla="*/ 248 h 407"/>
                  <a:gd name="T54" fmla="*/ 157 w 392"/>
                  <a:gd name="T55" fmla="*/ 238 h 407"/>
                  <a:gd name="T56" fmla="*/ 178 w 392"/>
                  <a:gd name="T57" fmla="*/ 210 h 407"/>
                  <a:gd name="T58" fmla="*/ 206 w 392"/>
                  <a:gd name="T59" fmla="*/ 288 h 407"/>
                  <a:gd name="T60" fmla="*/ 228 w 392"/>
                  <a:gd name="T61" fmla="*/ 303 h 407"/>
                  <a:gd name="T62" fmla="*/ 229 w 392"/>
                  <a:gd name="T63" fmla="*/ 303 h 407"/>
                  <a:gd name="T64" fmla="*/ 251 w 392"/>
                  <a:gd name="T65" fmla="*/ 289 h 407"/>
                  <a:gd name="T66" fmla="*/ 279 w 392"/>
                  <a:gd name="T67" fmla="*/ 227 h 407"/>
                  <a:gd name="T68" fmla="*/ 289 w 392"/>
                  <a:gd name="T69" fmla="*/ 239 h 407"/>
                  <a:gd name="T70" fmla="*/ 307 w 392"/>
                  <a:gd name="T71" fmla="*/ 248 h 407"/>
                  <a:gd name="T72" fmla="*/ 368 w 392"/>
                  <a:gd name="T73" fmla="*/ 248 h 407"/>
                  <a:gd name="T74" fmla="*/ 392 w 392"/>
                  <a:gd name="T75" fmla="*/ 224 h 407"/>
                  <a:gd name="T76" fmla="*/ 368 w 392"/>
                  <a:gd name="T77" fmla="*/ 200 h 407"/>
                  <a:gd name="T78" fmla="*/ 319 w 392"/>
                  <a:gd name="T79" fmla="*/ 200 h 407"/>
                  <a:gd name="T80" fmla="*/ 292 w 392"/>
                  <a:gd name="T81" fmla="*/ 167 h 407"/>
                  <a:gd name="T82" fmla="*/ 270 w 392"/>
                  <a:gd name="T83" fmla="*/ 158 h 407"/>
                  <a:gd name="T84" fmla="*/ 251 w 392"/>
                  <a:gd name="T85" fmla="*/ 172 h 407"/>
                  <a:gd name="T86" fmla="*/ 231 w 392"/>
                  <a:gd name="T87" fmla="*/ 216 h 407"/>
                  <a:gd name="T88" fmla="*/ 207 w 392"/>
                  <a:gd name="T89" fmla="*/ 152 h 407"/>
                  <a:gd name="T90" fmla="*/ 188 w 392"/>
                  <a:gd name="T91" fmla="*/ 136 h 407"/>
                  <a:gd name="T92" fmla="*/ 165 w 392"/>
                  <a:gd name="T93" fmla="*/ 146 h 407"/>
                  <a:gd name="T94" fmla="*/ 126 w 392"/>
                  <a:gd name="T95" fmla="*/ 200 h 407"/>
                  <a:gd name="T96" fmla="*/ 73 w 392"/>
                  <a:gd name="T97" fmla="*/ 200 h 407"/>
                  <a:gd name="T98" fmla="*/ 48 w 392"/>
                  <a:gd name="T99" fmla="*/ 134 h 407"/>
                  <a:gd name="T100" fmla="*/ 117 w 392"/>
                  <a:gd name="T101" fmla="*/ 48 h 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92" h="407">
                    <a:moveTo>
                      <a:pt x="117" y="48"/>
                    </a:moveTo>
                    <a:cubicBezTo>
                      <a:pt x="140" y="48"/>
                      <a:pt x="162" y="62"/>
                      <a:pt x="175" y="86"/>
                    </a:cubicBezTo>
                    <a:cubicBezTo>
                      <a:pt x="179" y="93"/>
                      <a:pt x="186" y="97"/>
                      <a:pt x="194" y="98"/>
                    </a:cubicBezTo>
                    <a:cubicBezTo>
                      <a:pt x="194" y="98"/>
                      <a:pt x="195" y="98"/>
                      <a:pt x="195" y="98"/>
                    </a:cubicBezTo>
                    <a:cubicBezTo>
                      <a:pt x="195" y="98"/>
                      <a:pt x="196" y="98"/>
                      <a:pt x="196" y="98"/>
                    </a:cubicBezTo>
                    <a:cubicBezTo>
                      <a:pt x="196" y="98"/>
                      <a:pt x="196" y="98"/>
                      <a:pt x="196" y="98"/>
                    </a:cubicBezTo>
                    <a:cubicBezTo>
                      <a:pt x="196" y="98"/>
                      <a:pt x="196" y="98"/>
                      <a:pt x="196" y="98"/>
                    </a:cubicBezTo>
                    <a:cubicBezTo>
                      <a:pt x="197" y="98"/>
                      <a:pt x="197" y="98"/>
                      <a:pt x="197" y="98"/>
                    </a:cubicBezTo>
                    <a:cubicBezTo>
                      <a:pt x="198" y="98"/>
                      <a:pt x="198" y="98"/>
                      <a:pt x="199" y="98"/>
                    </a:cubicBezTo>
                    <a:cubicBezTo>
                      <a:pt x="207" y="97"/>
                      <a:pt x="214" y="93"/>
                      <a:pt x="217" y="86"/>
                    </a:cubicBezTo>
                    <a:cubicBezTo>
                      <a:pt x="230" y="62"/>
                      <a:pt x="252" y="48"/>
                      <a:pt x="275" y="48"/>
                    </a:cubicBezTo>
                    <a:cubicBezTo>
                      <a:pt x="313" y="48"/>
                      <a:pt x="344" y="86"/>
                      <a:pt x="344" y="134"/>
                    </a:cubicBezTo>
                    <a:cubicBezTo>
                      <a:pt x="344" y="147"/>
                      <a:pt x="355" y="158"/>
                      <a:pt x="368" y="158"/>
                    </a:cubicBezTo>
                    <a:cubicBezTo>
                      <a:pt x="381" y="158"/>
                      <a:pt x="392" y="147"/>
                      <a:pt x="392" y="134"/>
                    </a:cubicBezTo>
                    <a:cubicBezTo>
                      <a:pt x="392" y="60"/>
                      <a:pt x="340" y="0"/>
                      <a:pt x="275" y="0"/>
                    </a:cubicBezTo>
                    <a:cubicBezTo>
                      <a:pt x="245" y="0"/>
                      <a:pt x="217" y="12"/>
                      <a:pt x="196" y="34"/>
                    </a:cubicBezTo>
                    <a:cubicBezTo>
                      <a:pt x="175" y="12"/>
                      <a:pt x="147" y="0"/>
                      <a:pt x="117" y="0"/>
                    </a:cubicBezTo>
                    <a:cubicBezTo>
                      <a:pt x="53" y="0"/>
                      <a:pt x="0" y="60"/>
                      <a:pt x="0" y="134"/>
                    </a:cubicBezTo>
                    <a:cubicBezTo>
                      <a:pt x="0" y="179"/>
                      <a:pt x="23" y="213"/>
                      <a:pt x="39" y="234"/>
                    </a:cubicBezTo>
                    <a:cubicBezTo>
                      <a:pt x="40" y="235"/>
                      <a:pt x="40" y="235"/>
                      <a:pt x="40" y="235"/>
                    </a:cubicBezTo>
                    <a:cubicBezTo>
                      <a:pt x="178" y="398"/>
                      <a:pt x="178" y="398"/>
                      <a:pt x="178" y="398"/>
                    </a:cubicBezTo>
                    <a:cubicBezTo>
                      <a:pt x="182" y="404"/>
                      <a:pt x="189" y="407"/>
                      <a:pt x="196" y="407"/>
                    </a:cubicBezTo>
                    <a:cubicBezTo>
                      <a:pt x="196" y="407"/>
                      <a:pt x="196" y="407"/>
                      <a:pt x="196" y="407"/>
                    </a:cubicBezTo>
                    <a:cubicBezTo>
                      <a:pt x="209" y="407"/>
                      <a:pt x="220" y="396"/>
                      <a:pt x="220" y="383"/>
                    </a:cubicBezTo>
                    <a:cubicBezTo>
                      <a:pt x="220" y="376"/>
                      <a:pt x="217" y="370"/>
                      <a:pt x="213" y="366"/>
                    </a:cubicBezTo>
                    <a:cubicBezTo>
                      <a:pt x="113" y="248"/>
                      <a:pt x="113" y="248"/>
                      <a:pt x="113" y="248"/>
                    </a:cubicBezTo>
                    <a:cubicBezTo>
                      <a:pt x="138" y="248"/>
                      <a:pt x="138" y="248"/>
                      <a:pt x="138" y="248"/>
                    </a:cubicBezTo>
                    <a:cubicBezTo>
                      <a:pt x="146" y="248"/>
                      <a:pt x="153" y="244"/>
                      <a:pt x="157" y="238"/>
                    </a:cubicBezTo>
                    <a:cubicBezTo>
                      <a:pt x="178" y="210"/>
                      <a:pt x="178" y="210"/>
                      <a:pt x="178" y="210"/>
                    </a:cubicBezTo>
                    <a:cubicBezTo>
                      <a:pt x="206" y="288"/>
                      <a:pt x="206" y="288"/>
                      <a:pt x="206" y="288"/>
                    </a:cubicBezTo>
                    <a:cubicBezTo>
                      <a:pt x="210" y="297"/>
                      <a:pt x="218" y="303"/>
                      <a:pt x="228" y="303"/>
                    </a:cubicBezTo>
                    <a:cubicBezTo>
                      <a:pt x="228" y="303"/>
                      <a:pt x="229" y="303"/>
                      <a:pt x="229" y="303"/>
                    </a:cubicBezTo>
                    <a:cubicBezTo>
                      <a:pt x="238" y="303"/>
                      <a:pt x="247" y="298"/>
                      <a:pt x="251" y="289"/>
                    </a:cubicBezTo>
                    <a:cubicBezTo>
                      <a:pt x="279" y="227"/>
                      <a:pt x="279" y="227"/>
                      <a:pt x="279" y="227"/>
                    </a:cubicBezTo>
                    <a:cubicBezTo>
                      <a:pt x="289" y="239"/>
                      <a:pt x="289" y="239"/>
                      <a:pt x="289" y="239"/>
                    </a:cubicBezTo>
                    <a:cubicBezTo>
                      <a:pt x="293" y="245"/>
                      <a:pt x="300" y="248"/>
                      <a:pt x="307" y="248"/>
                    </a:cubicBezTo>
                    <a:cubicBezTo>
                      <a:pt x="368" y="248"/>
                      <a:pt x="368" y="248"/>
                      <a:pt x="368" y="248"/>
                    </a:cubicBezTo>
                    <a:cubicBezTo>
                      <a:pt x="381" y="248"/>
                      <a:pt x="392" y="237"/>
                      <a:pt x="392" y="224"/>
                    </a:cubicBezTo>
                    <a:cubicBezTo>
                      <a:pt x="392" y="211"/>
                      <a:pt x="381" y="200"/>
                      <a:pt x="368" y="200"/>
                    </a:cubicBezTo>
                    <a:cubicBezTo>
                      <a:pt x="319" y="200"/>
                      <a:pt x="319" y="200"/>
                      <a:pt x="319" y="200"/>
                    </a:cubicBezTo>
                    <a:cubicBezTo>
                      <a:pt x="292" y="167"/>
                      <a:pt x="292" y="167"/>
                      <a:pt x="292" y="167"/>
                    </a:cubicBezTo>
                    <a:cubicBezTo>
                      <a:pt x="287" y="160"/>
                      <a:pt x="278" y="157"/>
                      <a:pt x="270" y="158"/>
                    </a:cubicBezTo>
                    <a:cubicBezTo>
                      <a:pt x="262" y="159"/>
                      <a:pt x="255" y="165"/>
                      <a:pt x="251" y="172"/>
                    </a:cubicBezTo>
                    <a:cubicBezTo>
                      <a:pt x="231" y="216"/>
                      <a:pt x="231" y="216"/>
                      <a:pt x="231" y="216"/>
                    </a:cubicBezTo>
                    <a:cubicBezTo>
                      <a:pt x="207" y="152"/>
                      <a:pt x="207" y="152"/>
                      <a:pt x="207" y="152"/>
                    </a:cubicBezTo>
                    <a:cubicBezTo>
                      <a:pt x="204" y="143"/>
                      <a:pt x="197" y="137"/>
                      <a:pt x="188" y="136"/>
                    </a:cubicBezTo>
                    <a:cubicBezTo>
                      <a:pt x="179" y="135"/>
                      <a:pt x="170" y="139"/>
                      <a:pt x="165" y="146"/>
                    </a:cubicBezTo>
                    <a:cubicBezTo>
                      <a:pt x="126" y="200"/>
                      <a:pt x="126" y="200"/>
                      <a:pt x="126" y="200"/>
                    </a:cubicBezTo>
                    <a:cubicBezTo>
                      <a:pt x="73" y="200"/>
                      <a:pt x="73" y="200"/>
                      <a:pt x="73" y="200"/>
                    </a:cubicBezTo>
                    <a:cubicBezTo>
                      <a:pt x="56" y="177"/>
                      <a:pt x="48" y="156"/>
                      <a:pt x="48" y="134"/>
                    </a:cubicBezTo>
                    <a:cubicBezTo>
                      <a:pt x="48" y="86"/>
                      <a:pt x="79" y="48"/>
                      <a:pt x="117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</p:grp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7081EC67-D359-4B35-94F8-585766E6D4D6}"/>
              </a:ext>
            </a:extLst>
          </p:cNvPr>
          <p:cNvGrpSpPr/>
          <p:nvPr/>
        </p:nvGrpSpPr>
        <p:grpSpPr>
          <a:xfrm>
            <a:off x="3723784" y="1285947"/>
            <a:ext cx="1473362" cy="963190"/>
            <a:chOff x="7447567" y="2571894"/>
            <a:chExt cx="2946724" cy="1926379"/>
          </a:xfrm>
        </p:grpSpPr>
        <p:sp>
          <p:nvSpPr>
            <p:cNvPr id="41" name="Freeform 201">
              <a:extLst>
                <a:ext uri="{FF2B5EF4-FFF2-40B4-BE49-F238E27FC236}">
                  <a16:creationId xmlns:a16="http://schemas.microsoft.com/office/drawing/2014/main" id="{C61C6DB0-9013-404E-B6A1-1DFA1F7A6F66}"/>
                </a:ext>
              </a:extLst>
            </p:cNvPr>
            <p:cNvSpPr/>
            <p:nvPr/>
          </p:nvSpPr>
          <p:spPr>
            <a:xfrm>
              <a:off x="7916983" y="2571894"/>
              <a:ext cx="1926379" cy="1926379"/>
            </a:xfrm>
            <a:custGeom>
              <a:avLst/>
              <a:gdLst>
                <a:gd name="connsiteX0" fmla="*/ 0 w 1220897"/>
                <a:gd name="connsiteY0" fmla="*/ 610449 h 1220897"/>
                <a:gd name="connsiteX1" fmla="*/ 610449 w 1220897"/>
                <a:gd name="connsiteY1" fmla="*/ 0 h 1220897"/>
                <a:gd name="connsiteX2" fmla="*/ 1220898 w 1220897"/>
                <a:gd name="connsiteY2" fmla="*/ 610449 h 1220897"/>
                <a:gd name="connsiteX3" fmla="*/ 610449 w 1220897"/>
                <a:gd name="connsiteY3" fmla="*/ 1220898 h 1220897"/>
                <a:gd name="connsiteX4" fmla="*/ 0 w 1220897"/>
                <a:gd name="connsiteY4" fmla="*/ 610449 h 122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0897" h="1220897">
                  <a:moveTo>
                    <a:pt x="0" y="610449"/>
                  </a:moveTo>
                  <a:cubicBezTo>
                    <a:pt x="0" y="273307"/>
                    <a:pt x="273307" y="0"/>
                    <a:pt x="610449" y="0"/>
                  </a:cubicBezTo>
                  <a:cubicBezTo>
                    <a:pt x="947591" y="0"/>
                    <a:pt x="1220898" y="273307"/>
                    <a:pt x="1220898" y="610449"/>
                  </a:cubicBezTo>
                  <a:cubicBezTo>
                    <a:pt x="1220898" y="947591"/>
                    <a:pt x="947591" y="1220898"/>
                    <a:pt x="610449" y="1220898"/>
                  </a:cubicBezTo>
                  <a:cubicBezTo>
                    <a:pt x="273307" y="1220898"/>
                    <a:pt x="0" y="947591"/>
                    <a:pt x="0" y="610449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8646" tIns="248646" rIns="248646" bIns="248646" numCol="1" spcCol="1270" anchor="ctr" anchorCtr="0">
              <a:noAutofit/>
            </a:bodyPr>
            <a:lstStyle/>
            <a:p>
              <a:pPr algn="ctr" defTabSz="2444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550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BEFB9B4-D975-4D5A-BBB2-B3384CA49353}"/>
                </a:ext>
              </a:extLst>
            </p:cNvPr>
            <p:cNvSpPr txBox="1"/>
            <p:nvPr/>
          </p:nvSpPr>
          <p:spPr>
            <a:xfrm>
              <a:off x="7447567" y="3352028"/>
              <a:ext cx="2946724" cy="738664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1200" b="1" dirty="0"/>
                <a:t>Web-based</a:t>
              </a:r>
              <a:br>
                <a:rPr lang="en-US" sz="1200" b="1" dirty="0"/>
              </a:br>
              <a:r>
                <a:rPr lang="en-US" sz="1200" b="1" dirty="0"/>
                <a:t>Applications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95CF5F21-1C7A-4F0B-93A3-61625313C70A}"/>
                </a:ext>
              </a:extLst>
            </p:cNvPr>
            <p:cNvGrpSpPr/>
            <p:nvPr/>
          </p:nvGrpSpPr>
          <p:grpSpPr>
            <a:xfrm>
              <a:off x="8591876" y="2809436"/>
              <a:ext cx="576591" cy="481037"/>
              <a:chOff x="-3813175" y="989013"/>
              <a:chExt cx="3362325" cy="2805112"/>
            </a:xfrm>
            <a:solidFill>
              <a:schemeClr val="accent2"/>
            </a:solidFill>
          </p:grpSpPr>
          <p:sp>
            <p:nvSpPr>
              <p:cNvPr id="88" name="Freeform 11">
                <a:extLst>
                  <a:ext uri="{FF2B5EF4-FFF2-40B4-BE49-F238E27FC236}">
                    <a16:creationId xmlns:a16="http://schemas.microsoft.com/office/drawing/2014/main" id="{DD9977C4-DB73-470D-974F-ACF4F362FC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813175" y="989013"/>
                <a:ext cx="3362325" cy="2805112"/>
              </a:xfrm>
              <a:custGeom>
                <a:avLst/>
                <a:gdLst>
                  <a:gd name="T0" fmla="*/ 817 w 894"/>
                  <a:gd name="T1" fmla="*/ 0 h 746"/>
                  <a:gd name="T2" fmla="*/ 77 w 894"/>
                  <a:gd name="T3" fmla="*/ 0 h 746"/>
                  <a:gd name="T4" fmla="*/ 0 w 894"/>
                  <a:gd name="T5" fmla="*/ 77 h 746"/>
                  <a:gd name="T6" fmla="*/ 0 w 894"/>
                  <a:gd name="T7" fmla="*/ 558 h 746"/>
                  <a:gd name="T8" fmla="*/ 77 w 894"/>
                  <a:gd name="T9" fmla="*/ 635 h 746"/>
                  <a:gd name="T10" fmla="*/ 423 w 894"/>
                  <a:gd name="T11" fmla="*/ 635 h 746"/>
                  <a:gd name="T12" fmla="*/ 423 w 894"/>
                  <a:gd name="T13" fmla="*/ 698 h 746"/>
                  <a:gd name="T14" fmla="*/ 283 w 894"/>
                  <a:gd name="T15" fmla="*/ 698 h 746"/>
                  <a:gd name="T16" fmla="*/ 259 w 894"/>
                  <a:gd name="T17" fmla="*/ 722 h 746"/>
                  <a:gd name="T18" fmla="*/ 283 w 894"/>
                  <a:gd name="T19" fmla="*/ 746 h 746"/>
                  <a:gd name="T20" fmla="*/ 611 w 894"/>
                  <a:gd name="T21" fmla="*/ 746 h 746"/>
                  <a:gd name="T22" fmla="*/ 635 w 894"/>
                  <a:gd name="T23" fmla="*/ 722 h 746"/>
                  <a:gd name="T24" fmla="*/ 611 w 894"/>
                  <a:gd name="T25" fmla="*/ 698 h 746"/>
                  <a:gd name="T26" fmla="*/ 471 w 894"/>
                  <a:gd name="T27" fmla="*/ 698 h 746"/>
                  <a:gd name="T28" fmla="*/ 471 w 894"/>
                  <a:gd name="T29" fmla="*/ 635 h 746"/>
                  <a:gd name="T30" fmla="*/ 817 w 894"/>
                  <a:gd name="T31" fmla="*/ 635 h 746"/>
                  <a:gd name="T32" fmla="*/ 894 w 894"/>
                  <a:gd name="T33" fmla="*/ 558 h 746"/>
                  <a:gd name="T34" fmla="*/ 894 w 894"/>
                  <a:gd name="T35" fmla="*/ 77 h 746"/>
                  <a:gd name="T36" fmla="*/ 817 w 894"/>
                  <a:gd name="T37" fmla="*/ 0 h 746"/>
                  <a:gd name="T38" fmla="*/ 846 w 894"/>
                  <a:gd name="T39" fmla="*/ 558 h 746"/>
                  <a:gd name="T40" fmla="*/ 817 w 894"/>
                  <a:gd name="T41" fmla="*/ 587 h 746"/>
                  <a:gd name="T42" fmla="*/ 77 w 894"/>
                  <a:gd name="T43" fmla="*/ 587 h 746"/>
                  <a:gd name="T44" fmla="*/ 48 w 894"/>
                  <a:gd name="T45" fmla="*/ 558 h 746"/>
                  <a:gd name="T46" fmla="*/ 48 w 894"/>
                  <a:gd name="T47" fmla="*/ 77 h 746"/>
                  <a:gd name="T48" fmla="*/ 77 w 894"/>
                  <a:gd name="T49" fmla="*/ 48 h 746"/>
                  <a:gd name="T50" fmla="*/ 817 w 894"/>
                  <a:gd name="T51" fmla="*/ 48 h 746"/>
                  <a:gd name="T52" fmla="*/ 846 w 894"/>
                  <a:gd name="T53" fmla="*/ 77 h 746"/>
                  <a:gd name="T54" fmla="*/ 846 w 894"/>
                  <a:gd name="T55" fmla="*/ 558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94" h="746">
                    <a:moveTo>
                      <a:pt x="817" y="0"/>
                    </a:moveTo>
                    <a:cubicBezTo>
                      <a:pt x="77" y="0"/>
                      <a:pt x="77" y="0"/>
                      <a:pt x="77" y="0"/>
                    </a:cubicBezTo>
                    <a:cubicBezTo>
                      <a:pt x="34" y="0"/>
                      <a:pt x="0" y="34"/>
                      <a:pt x="0" y="77"/>
                    </a:cubicBezTo>
                    <a:cubicBezTo>
                      <a:pt x="0" y="558"/>
                      <a:pt x="0" y="558"/>
                      <a:pt x="0" y="558"/>
                    </a:cubicBezTo>
                    <a:cubicBezTo>
                      <a:pt x="0" y="601"/>
                      <a:pt x="34" y="635"/>
                      <a:pt x="77" y="635"/>
                    </a:cubicBezTo>
                    <a:cubicBezTo>
                      <a:pt x="423" y="635"/>
                      <a:pt x="423" y="635"/>
                      <a:pt x="423" y="635"/>
                    </a:cubicBezTo>
                    <a:cubicBezTo>
                      <a:pt x="423" y="698"/>
                      <a:pt x="423" y="698"/>
                      <a:pt x="423" y="698"/>
                    </a:cubicBezTo>
                    <a:cubicBezTo>
                      <a:pt x="283" y="698"/>
                      <a:pt x="283" y="698"/>
                      <a:pt x="283" y="698"/>
                    </a:cubicBezTo>
                    <a:cubicBezTo>
                      <a:pt x="269" y="698"/>
                      <a:pt x="259" y="709"/>
                      <a:pt x="259" y="722"/>
                    </a:cubicBezTo>
                    <a:cubicBezTo>
                      <a:pt x="259" y="735"/>
                      <a:pt x="269" y="746"/>
                      <a:pt x="283" y="746"/>
                    </a:cubicBezTo>
                    <a:cubicBezTo>
                      <a:pt x="611" y="746"/>
                      <a:pt x="611" y="746"/>
                      <a:pt x="611" y="746"/>
                    </a:cubicBezTo>
                    <a:cubicBezTo>
                      <a:pt x="624" y="746"/>
                      <a:pt x="635" y="735"/>
                      <a:pt x="635" y="722"/>
                    </a:cubicBezTo>
                    <a:cubicBezTo>
                      <a:pt x="635" y="709"/>
                      <a:pt x="624" y="698"/>
                      <a:pt x="611" y="698"/>
                    </a:cubicBezTo>
                    <a:cubicBezTo>
                      <a:pt x="471" y="698"/>
                      <a:pt x="471" y="698"/>
                      <a:pt x="471" y="698"/>
                    </a:cubicBezTo>
                    <a:cubicBezTo>
                      <a:pt x="471" y="635"/>
                      <a:pt x="471" y="635"/>
                      <a:pt x="471" y="635"/>
                    </a:cubicBezTo>
                    <a:cubicBezTo>
                      <a:pt x="817" y="635"/>
                      <a:pt x="817" y="635"/>
                      <a:pt x="817" y="635"/>
                    </a:cubicBezTo>
                    <a:cubicBezTo>
                      <a:pt x="860" y="635"/>
                      <a:pt x="894" y="601"/>
                      <a:pt x="894" y="558"/>
                    </a:cubicBezTo>
                    <a:cubicBezTo>
                      <a:pt x="894" y="77"/>
                      <a:pt x="894" y="77"/>
                      <a:pt x="894" y="77"/>
                    </a:cubicBezTo>
                    <a:cubicBezTo>
                      <a:pt x="894" y="34"/>
                      <a:pt x="860" y="0"/>
                      <a:pt x="817" y="0"/>
                    </a:cubicBezTo>
                    <a:close/>
                    <a:moveTo>
                      <a:pt x="846" y="558"/>
                    </a:moveTo>
                    <a:cubicBezTo>
                      <a:pt x="846" y="574"/>
                      <a:pt x="833" y="587"/>
                      <a:pt x="817" y="587"/>
                    </a:cubicBezTo>
                    <a:cubicBezTo>
                      <a:pt x="77" y="587"/>
                      <a:pt x="77" y="587"/>
                      <a:pt x="77" y="587"/>
                    </a:cubicBezTo>
                    <a:cubicBezTo>
                      <a:pt x="61" y="587"/>
                      <a:pt x="48" y="574"/>
                      <a:pt x="48" y="558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8" y="61"/>
                      <a:pt x="61" y="48"/>
                      <a:pt x="77" y="48"/>
                    </a:cubicBezTo>
                    <a:cubicBezTo>
                      <a:pt x="817" y="48"/>
                      <a:pt x="817" y="48"/>
                      <a:pt x="817" y="48"/>
                    </a:cubicBezTo>
                    <a:cubicBezTo>
                      <a:pt x="833" y="48"/>
                      <a:pt x="846" y="61"/>
                      <a:pt x="846" y="77"/>
                    </a:cubicBezTo>
                    <a:lnTo>
                      <a:pt x="846" y="5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  <p:sp>
            <p:nvSpPr>
              <p:cNvPr id="89" name="Rectangle 12">
                <a:extLst>
                  <a:ext uri="{FF2B5EF4-FFF2-40B4-BE49-F238E27FC236}">
                    <a16:creationId xmlns:a16="http://schemas.microsoft.com/office/drawing/2014/main" id="{2B0305ED-DD11-4FD5-910D-63D42B95C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974975" y="1951038"/>
                <a:ext cx="180975" cy="7905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  <p:sp>
            <p:nvSpPr>
              <p:cNvPr id="90" name="Rectangle 13">
                <a:extLst>
                  <a:ext uri="{FF2B5EF4-FFF2-40B4-BE49-F238E27FC236}">
                    <a16:creationId xmlns:a16="http://schemas.microsoft.com/office/drawing/2014/main" id="{DE22AB22-2CC7-470F-B7DB-B4F4E9739C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477963" y="1631950"/>
                <a:ext cx="180975" cy="110966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  <p:sp>
            <p:nvSpPr>
              <p:cNvPr id="91" name="Rectangle 14">
                <a:extLst>
                  <a:ext uri="{FF2B5EF4-FFF2-40B4-BE49-F238E27FC236}">
                    <a16:creationId xmlns:a16="http://schemas.microsoft.com/office/drawing/2014/main" id="{6F04415A-429F-4348-BFC7-22B031846E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598738" y="1725613"/>
                <a:ext cx="180975" cy="10160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  <p:sp>
            <p:nvSpPr>
              <p:cNvPr id="92" name="Rectangle 15">
                <a:extLst>
                  <a:ext uri="{FF2B5EF4-FFF2-40B4-BE49-F238E27FC236}">
                    <a16:creationId xmlns:a16="http://schemas.microsoft.com/office/drawing/2014/main" id="{A93F5C60-6C6F-43AB-9E13-BABBC541ED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227263" y="2022475"/>
                <a:ext cx="180975" cy="71913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  <p:sp>
            <p:nvSpPr>
              <p:cNvPr id="93" name="Rectangle 16">
                <a:extLst>
                  <a:ext uri="{FF2B5EF4-FFF2-40B4-BE49-F238E27FC236}">
                    <a16:creationId xmlns:a16="http://schemas.microsoft.com/office/drawing/2014/main" id="{BEBD963B-9C32-47FC-AA46-AE6829BC9B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851025" y="1947863"/>
                <a:ext cx="180975" cy="793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/>
              </a:p>
            </p:txBody>
          </p:sp>
        </p:grpSp>
      </p:grpSp>
      <p:sp>
        <p:nvSpPr>
          <p:cNvPr id="98" name="Freeform 7">
            <a:extLst>
              <a:ext uri="{FF2B5EF4-FFF2-40B4-BE49-F238E27FC236}">
                <a16:creationId xmlns:a16="http://schemas.microsoft.com/office/drawing/2014/main" id="{5B0566FC-546B-4AEA-9BCB-E67CE067C382}"/>
              </a:ext>
            </a:extLst>
          </p:cNvPr>
          <p:cNvSpPr>
            <a:spLocks noEditPoints="1"/>
          </p:cNvSpPr>
          <p:nvPr/>
        </p:nvSpPr>
        <p:spPr bwMode="auto">
          <a:xfrm>
            <a:off x="5992405" y="837891"/>
            <a:ext cx="583662" cy="402336"/>
          </a:xfrm>
          <a:custGeom>
            <a:avLst/>
            <a:gdLst>
              <a:gd name="T0" fmla="*/ 839 w 940"/>
              <a:gd name="T1" fmla="*/ 263 h 641"/>
              <a:gd name="T2" fmla="*/ 839 w 940"/>
              <a:gd name="T3" fmla="*/ 243 h 641"/>
              <a:gd name="T4" fmla="*/ 596 w 940"/>
              <a:gd name="T5" fmla="*/ 0 h 641"/>
              <a:gd name="T6" fmla="*/ 443 w 940"/>
              <a:gd name="T7" fmla="*/ 54 h 641"/>
              <a:gd name="T8" fmla="*/ 367 w 940"/>
              <a:gd name="T9" fmla="*/ 161 h 641"/>
              <a:gd name="T10" fmla="*/ 305 w 940"/>
              <a:gd name="T11" fmla="*/ 150 h 641"/>
              <a:gd name="T12" fmla="*/ 126 w 940"/>
              <a:gd name="T13" fmla="*/ 328 h 641"/>
              <a:gd name="T14" fmla="*/ 0 w 940"/>
              <a:gd name="T15" fmla="*/ 483 h 641"/>
              <a:gd name="T16" fmla="*/ 149 w 940"/>
              <a:gd name="T17" fmla="*/ 640 h 641"/>
              <a:gd name="T18" fmla="*/ 149 w 940"/>
              <a:gd name="T19" fmla="*/ 641 h 641"/>
              <a:gd name="T20" fmla="*/ 738 w 940"/>
              <a:gd name="T21" fmla="*/ 641 h 641"/>
              <a:gd name="T22" fmla="*/ 940 w 940"/>
              <a:gd name="T23" fmla="*/ 438 h 641"/>
              <a:gd name="T24" fmla="*/ 839 w 940"/>
              <a:gd name="T25" fmla="*/ 263 h 641"/>
              <a:gd name="T26" fmla="*/ 738 w 940"/>
              <a:gd name="T27" fmla="*/ 593 h 641"/>
              <a:gd name="T28" fmla="*/ 601 w 940"/>
              <a:gd name="T29" fmla="*/ 593 h 641"/>
              <a:gd name="T30" fmla="*/ 601 w 940"/>
              <a:gd name="T31" fmla="*/ 352 h 641"/>
              <a:gd name="T32" fmla="*/ 673 w 940"/>
              <a:gd name="T33" fmla="*/ 423 h 641"/>
              <a:gd name="T34" fmla="*/ 707 w 940"/>
              <a:gd name="T35" fmla="*/ 389 h 641"/>
              <a:gd name="T36" fmla="*/ 577 w 940"/>
              <a:gd name="T37" fmla="*/ 261 h 641"/>
              <a:gd name="T38" fmla="*/ 447 w 940"/>
              <a:gd name="T39" fmla="*/ 389 h 641"/>
              <a:gd name="T40" fmla="*/ 481 w 940"/>
              <a:gd name="T41" fmla="*/ 423 h 641"/>
              <a:gd name="T42" fmla="*/ 553 w 940"/>
              <a:gd name="T43" fmla="*/ 352 h 641"/>
              <a:gd name="T44" fmla="*/ 553 w 940"/>
              <a:gd name="T45" fmla="*/ 593 h 641"/>
              <a:gd name="T46" fmla="*/ 151 w 940"/>
              <a:gd name="T47" fmla="*/ 593 h 641"/>
              <a:gd name="T48" fmla="*/ 48 w 940"/>
              <a:gd name="T49" fmla="*/ 483 h 641"/>
              <a:gd name="T50" fmla="*/ 153 w 940"/>
              <a:gd name="T51" fmla="*/ 373 h 641"/>
              <a:gd name="T52" fmla="*/ 179 w 940"/>
              <a:gd name="T53" fmla="*/ 372 h 641"/>
              <a:gd name="T54" fmla="*/ 175 w 940"/>
              <a:gd name="T55" fmla="*/ 346 h 641"/>
              <a:gd name="T56" fmla="*/ 174 w 940"/>
              <a:gd name="T57" fmla="*/ 328 h 641"/>
              <a:gd name="T58" fmla="*/ 305 w 940"/>
              <a:gd name="T59" fmla="*/ 198 h 641"/>
              <a:gd name="T60" fmla="*/ 370 w 940"/>
              <a:gd name="T61" fmla="*/ 215 h 641"/>
              <a:gd name="T62" fmla="*/ 398 w 940"/>
              <a:gd name="T63" fmla="*/ 232 h 641"/>
              <a:gd name="T64" fmla="*/ 405 w 940"/>
              <a:gd name="T65" fmla="*/ 200 h 641"/>
              <a:gd name="T66" fmla="*/ 596 w 940"/>
              <a:gd name="T67" fmla="*/ 48 h 641"/>
              <a:gd name="T68" fmla="*/ 791 w 940"/>
              <a:gd name="T69" fmla="*/ 243 h 641"/>
              <a:gd name="T70" fmla="*/ 789 w 940"/>
              <a:gd name="T71" fmla="*/ 273 h 641"/>
              <a:gd name="T72" fmla="*/ 786 w 940"/>
              <a:gd name="T73" fmla="*/ 291 h 641"/>
              <a:gd name="T74" fmla="*/ 803 w 940"/>
              <a:gd name="T75" fmla="*/ 298 h 641"/>
              <a:gd name="T76" fmla="*/ 892 w 940"/>
              <a:gd name="T77" fmla="*/ 438 h 641"/>
              <a:gd name="T78" fmla="*/ 738 w 940"/>
              <a:gd name="T79" fmla="*/ 593 h 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40" h="641">
                <a:moveTo>
                  <a:pt x="839" y="263"/>
                </a:moveTo>
                <a:cubicBezTo>
                  <a:pt x="839" y="256"/>
                  <a:pt x="839" y="250"/>
                  <a:pt x="839" y="243"/>
                </a:cubicBezTo>
                <a:cubicBezTo>
                  <a:pt x="839" y="109"/>
                  <a:pt x="730" y="0"/>
                  <a:pt x="596" y="0"/>
                </a:cubicBezTo>
                <a:cubicBezTo>
                  <a:pt x="540" y="0"/>
                  <a:pt x="486" y="19"/>
                  <a:pt x="443" y="54"/>
                </a:cubicBezTo>
                <a:cubicBezTo>
                  <a:pt x="408" y="82"/>
                  <a:pt x="382" y="119"/>
                  <a:pt x="367" y="161"/>
                </a:cubicBezTo>
                <a:cubicBezTo>
                  <a:pt x="347" y="153"/>
                  <a:pt x="326" y="150"/>
                  <a:pt x="305" y="150"/>
                </a:cubicBezTo>
                <a:cubicBezTo>
                  <a:pt x="206" y="150"/>
                  <a:pt x="126" y="230"/>
                  <a:pt x="126" y="328"/>
                </a:cubicBezTo>
                <a:cubicBezTo>
                  <a:pt x="54" y="343"/>
                  <a:pt x="0" y="407"/>
                  <a:pt x="0" y="483"/>
                </a:cubicBezTo>
                <a:cubicBezTo>
                  <a:pt x="0" y="566"/>
                  <a:pt x="65" y="636"/>
                  <a:pt x="149" y="640"/>
                </a:cubicBezTo>
                <a:cubicBezTo>
                  <a:pt x="149" y="641"/>
                  <a:pt x="149" y="641"/>
                  <a:pt x="149" y="641"/>
                </a:cubicBezTo>
                <a:cubicBezTo>
                  <a:pt x="738" y="641"/>
                  <a:pt x="738" y="641"/>
                  <a:pt x="738" y="641"/>
                </a:cubicBezTo>
                <a:cubicBezTo>
                  <a:pt x="850" y="641"/>
                  <a:pt x="940" y="550"/>
                  <a:pt x="940" y="438"/>
                </a:cubicBezTo>
                <a:cubicBezTo>
                  <a:pt x="940" y="366"/>
                  <a:pt x="901" y="299"/>
                  <a:pt x="839" y="263"/>
                </a:cubicBezTo>
                <a:close/>
                <a:moveTo>
                  <a:pt x="738" y="593"/>
                </a:moveTo>
                <a:cubicBezTo>
                  <a:pt x="601" y="593"/>
                  <a:pt x="601" y="593"/>
                  <a:pt x="601" y="593"/>
                </a:cubicBezTo>
                <a:cubicBezTo>
                  <a:pt x="601" y="352"/>
                  <a:pt x="601" y="352"/>
                  <a:pt x="601" y="352"/>
                </a:cubicBezTo>
                <a:cubicBezTo>
                  <a:pt x="673" y="423"/>
                  <a:pt x="673" y="423"/>
                  <a:pt x="673" y="423"/>
                </a:cubicBezTo>
                <a:cubicBezTo>
                  <a:pt x="707" y="389"/>
                  <a:pt x="707" y="389"/>
                  <a:pt x="707" y="389"/>
                </a:cubicBezTo>
                <a:cubicBezTo>
                  <a:pt x="577" y="261"/>
                  <a:pt x="577" y="261"/>
                  <a:pt x="577" y="261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81" y="423"/>
                  <a:pt x="481" y="423"/>
                  <a:pt x="481" y="423"/>
                </a:cubicBezTo>
                <a:cubicBezTo>
                  <a:pt x="553" y="352"/>
                  <a:pt x="553" y="352"/>
                  <a:pt x="553" y="352"/>
                </a:cubicBezTo>
                <a:cubicBezTo>
                  <a:pt x="553" y="593"/>
                  <a:pt x="553" y="593"/>
                  <a:pt x="553" y="593"/>
                </a:cubicBezTo>
                <a:cubicBezTo>
                  <a:pt x="151" y="593"/>
                  <a:pt x="151" y="593"/>
                  <a:pt x="151" y="593"/>
                </a:cubicBezTo>
                <a:cubicBezTo>
                  <a:pt x="93" y="589"/>
                  <a:pt x="48" y="541"/>
                  <a:pt x="48" y="483"/>
                </a:cubicBezTo>
                <a:cubicBezTo>
                  <a:pt x="48" y="424"/>
                  <a:pt x="94" y="376"/>
                  <a:pt x="153" y="373"/>
                </a:cubicBezTo>
                <a:cubicBezTo>
                  <a:pt x="179" y="372"/>
                  <a:pt x="179" y="372"/>
                  <a:pt x="179" y="372"/>
                </a:cubicBezTo>
                <a:cubicBezTo>
                  <a:pt x="175" y="346"/>
                  <a:pt x="175" y="346"/>
                  <a:pt x="175" y="346"/>
                </a:cubicBezTo>
                <a:cubicBezTo>
                  <a:pt x="174" y="340"/>
                  <a:pt x="174" y="334"/>
                  <a:pt x="174" y="328"/>
                </a:cubicBezTo>
                <a:cubicBezTo>
                  <a:pt x="174" y="256"/>
                  <a:pt x="233" y="198"/>
                  <a:pt x="305" y="198"/>
                </a:cubicBezTo>
                <a:cubicBezTo>
                  <a:pt x="328" y="198"/>
                  <a:pt x="350" y="204"/>
                  <a:pt x="370" y="215"/>
                </a:cubicBezTo>
                <a:cubicBezTo>
                  <a:pt x="398" y="232"/>
                  <a:pt x="398" y="232"/>
                  <a:pt x="398" y="232"/>
                </a:cubicBezTo>
                <a:cubicBezTo>
                  <a:pt x="405" y="200"/>
                  <a:pt x="405" y="200"/>
                  <a:pt x="405" y="200"/>
                </a:cubicBezTo>
                <a:cubicBezTo>
                  <a:pt x="426" y="110"/>
                  <a:pt x="504" y="48"/>
                  <a:pt x="596" y="48"/>
                </a:cubicBezTo>
                <a:cubicBezTo>
                  <a:pt x="704" y="48"/>
                  <a:pt x="791" y="135"/>
                  <a:pt x="791" y="243"/>
                </a:cubicBezTo>
                <a:cubicBezTo>
                  <a:pt x="791" y="253"/>
                  <a:pt x="791" y="263"/>
                  <a:pt x="789" y="273"/>
                </a:cubicBezTo>
                <a:cubicBezTo>
                  <a:pt x="786" y="291"/>
                  <a:pt x="786" y="291"/>
                  <a:pt x="786" y="291"/>
                </a:cubicBezTo>
                <a:cubicBezTo>
                  <a:pt x="803" y="298"/>
                  <a:pt x="803" y="298"/>
                  <a:pt x="803" y="298"/>
                </a:cubicBezTo>
                <a:cubicBezTo>
                  <a:pt x="857" y="323"/>
                  <a:pt x="892" y="378"/>
                  <a:pt x="892" y="438"/>
                </a:cubicBezTo>
                <a:cubicBezTo>
                  <a:pt x="892" y="524"/>
                  <a:pt x="823" y="593"/>
                  <a:pt x="738" y="59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3600" dirty="0"/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04057F62-3828-46A7-A4F0-FE303956082A}"/>
              </a:ext>
            </a:extLst>
          </p:cNvPr>
          <p:cNvGrpSpPr/>
          <p:nvPr/>
        </p:nvGrpSpPr>
        <p:grpSpPr>
          <a:xfrm>
            <a:off x="8022171" y="1462267"/>
            <a:ext cx="240637" cy="383516"/>
            <a:chOff x="-2725738" y="758825"/>
            <a:chExt cx="2211388" cy="3159125"/>
          </a:xfrm>
          <a:solidFill>
            <a:schemeClr val="accent3"/>
          </a:solidFill>
        </p:grpSpPr>
        <p:sp>
          <p:nvSpPr>
            <p:cNvPr id="100" name="Freeform 26">
              <a:extLst>
                <a:ext uri="{FF2B5EF4-FFF2-40B4-BE49-F238E27FC236}">
                  <a16:creationId xmlns:a16="http://schemas.microsoft.com/office/drawing/2014/main" id="{949F9D77-E4D5-4F2C-AD10-5F19280B78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25738" y="758825"/>
              <a:ext cx="2211388" cy="3159125"/>
            </a:xfrm>
            <a:custGeom>
              <a:avLst/>
              <a:gdLst>
                <a:gd name="T0" fmla="*/ 552 w 588"/>
                <a:gd name="T1" fmla="*/ 0 h 840"/>
                <a:gd name="T2" fmla="*/ 36 w 588"/>
                <a:gd name="T3" fmla="*/ 0 h 840"/>
                <a:gd name="T4" fmla="*/ 0 w 588"/>
                <a:gd name="T5" fmla="*/ 36 h 840"/>
                <a:gd name="T6" fmla="*/ 0 w 588"/>
                <a:gd name="T7" fmla="*/ 686 h 840"/>
                <a:gd name="T8" fmla="*/ 294 w 588"/>
                <a:gd name="T9" fmla="*/ 840 h 840"/>
                <a:gd name="T10" fmla="*/ 588 w 588"/>
                <a:gd name="T11" fmla="*/ 686 h 840"/>
                <a:gd name="T12" fmla="*/ 588 w 588"/>
                <a:gd name="T13" fmla="*/ 36 h 840"/>
                <a:gd name="T14" fmla="*/ 552 w 588"/>
                <a:gd name="T15" fmla="*/ 0 h 840"/>
                <a:gd name="T16" fmla="*/ 540 w 588"/>
                <a:gd name="T17" fmla="*/ 48 h 840"/>
                <a:gd name="T18" fmla="*/ 540 w 588"/>
                <a:gd name="T19" fmla="*/ 289 h 840"/>
                <a:gd name="T20" fmla="*/ 48 w 588"/>
                <a:gd name="T21" fmla="*/ 289 h 840"/>
                <a:gd name="T22" fmla="*/ 48 w 588"/>
                <a:gd name="T23" fmla="*/ 48 h 840"/>
                <a:gd name="T24" fmla="*/ 540 w 588"/>
                <a:gd name="T25" fmla="*/ 48 h 840"/>
                <a:gd name="T26" fmla="*/ 487 w 588"/>
                <a:gd name="T27" fmla="*/ 766 h 840"/>
                <a:gd name="T28" fmla="*/ 294 w 588"/>
                <a:gd name="T29" fmla="*/ 792 h 840"/>
                <a:gd name="T30" fmla="*/ 102 w 588"/>
                <a:gd name="T31" fmla="*/ 766 h 840"/>
                <a:gd name="T32" fmla="*/ 48 w 588"/>
                <a:gd name="T33" fmla="*/ 686 h 840"/>
                <a:gd name="T34" fmla="*/ 48 w 588"/>
                <a:gd name="T35" fmla="*/ 337 h 840"/>
                <a:gd name="T36" fmla="*/ 540 w 588"/>
                <a:gd name="T37" fmla="*/ 337 h 840"/>
                <a:gd name="T38" fmla="*/ 540 w 588"/>
                <a:gd name="T39" fmla="*/ 686 h 840"/>
                <a:gd name="T40" fmla="*/ 487 w 588"/>
                <a:gd name="T41" fmla="*/ 76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88" h="840">
                  <a:moveTo>
                    <a:pt x="552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7" y="0"/>
                    <a:pt x="0" y="17"/>
                    <a:pt x="0" y="36"/>
                  </a:cubicBezTo>
                  <a:cubicBezTo>
                    <a:pt x="0" y="686"/>
                    <a:pt x="0" y="686"/>
                    <a:pt x="0" y="686"/>
                  </a:cubicBezTo>
                  <a:cubicBezTo>
                    <a:pt x="0" y="812"/>
                    <a:pt x="121" y="840"/>
                    <a:pt x="294" y="840"/>
                  </a:cubicBezTo>
                  <a:cubicBezTo>
                    <a:pt x="467" y="840"/>
                    <a:pt x="588" y="811"/>
                    <a:pt x="588" y="686"/>
                  </a:cubicBezTo>
                  <a:cubicBezTo>
                    <a:pt x="588" y="36"/>
                    <a:pt x="588" y="36"/>
                    <a:pt x="588" y="36"/>
                  </a:cubicBezTo>
                  <a:cubicBezTo>
                    <a:pt x="588" y="17"/>
                    <a:pt x="572" y="0"/>
                    <a:pt x="552" y="0"/>
                  </a:cubicBezTo>
                  <a:close/>
                  <a:moveTo>
                    <a:pt x="540" y="48"/>
                  </a:moveTo>
                  <a:cubicBezTo>
                    <a:pt x="540" y="289"/>
                    <a:pt x="540" y="289"/>
                    <a:pt x="540" y="289"/>
                  </a:cubicBezTo>
                  <a:cubicBezTo>
                    <a:pt x="48" y="289"/>
                    <a:pt x="48" y="289"/>
                    <a:pt x="48" y="289"/>
                  </a:cubicBezTo>
                  <a:cubicBezTo>
                    <a:pt x="48" y="48"/>
                    <a:pt x="48" y="48"/>
                    <a:pt x="48" y="48"/>
                  </a:cubicBezTo>
                  <a:lnTo>
                    <a:pt x="540" y="48"/>
                  </a:lnTo>
                  <a:close/>
                  <a:moveTo>
                    <a:pt x="487" y="766"/>
                  </a:moveTo>
                  <a:cubicBezTo>
                    <a:pt x="447" y="784"/>
                    <a:pt x="384" y="792"/>
                    <a:pt x="294" y="792"/>
                  </a:cubicBezTo>
                  <a:cubicBezTo>
                    <a:pt x="203" y="792"/>
                    <a:pt x="142" y="784"/>
                    <a:pt x="102" y="766"/>
                  </a:cubicBezTo>
                  <a:cubicBezTo>
                    <a:pt x="64" y="750"/>
                    <a:pt x="48" y="727"/>
                    <a:pt x="48" y="686"/>
                  </a:cubicBezTo>
                  <a:cubicBezTo>
                    <a:pt x="48" y="337"/>
                    <a:pt x="48" y="337"/>
                    <a:pt x="48" y="337"/>
                  </a:cubicBezTo>
                  <a:cubicBezTo>
                    <a:pt x="540" y="337"/>
                    <a:pt x="540" y="337"/>
                    <a:pt x="540" y="337"/>
                  </a:cubicBezTo>
                  <a:cubicBezTo>
                    <a:pt x="540" y="686"/>
                    <a:pt x="540" y="686"/>
                    <a:pt x="540" y="686"/>
                  </a:cubicBezTo>
                  <a:cubicBezTo>
                    <a:pt x="540" y="726"/>
                    <a:pt x="525" y="749"/>
                    <a:pt x="487" y="7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1" name="Freeform 27">
              <a:extLst>
                <a:ext uri="{FF2B5EF4-FFF2-40B4-BE49-F238E27FC236}">
                  <a16:creationId xmlns:a16="http://schemas.microsoft.com/office/drawing/2014/main" id="{84EB9DB5-EF26-4FE7-97A3-B2B9B628E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55838" y="1101725"/>
              <a:ext cx="1287463" cy="585788"/>
            </a:xfrm>
            <a:custGeom>
              <a:avLst/>
              <a:gdLst>
                <a:gd name="T0" fmla="*/ 89 w 342"/>
                <a:gd name="T1" fmla="*/ 48 h 156"/>
                <a:gd name="T2" fmla="*/ 148 w 342"/>
                <a:gd name="T3" fmla="*/ 93 h 156"/>
                <a:gd name="T4" fmla="*/ 249 w 342"/>
                <a:gd name="T5" fmla="*/ 156 h 156"/>
                <a:gd name="T6" fmla="*/ 302 w 342"/>
                <a:gd name="T7" fmla="*/ 134 h 156"/>
                <a:gd name="T8" fmla="*/ 342 w 342"/>
                <a:gd name="T9" fmla="*/ 6 h 156"/>
                <a:gd name="T10" fmla="*/ 294 w 342"/>
                <a:gd name="T11" fmla="*/ 6 h 156"/>
                <a:gd name="T12" fmla="*/ 268 w 342"/>
                <a:gd name="T13" fmla="*/ 100 h 156"/>
                <a:gd name="T14" fmla="*/ 249 w 342"/>
                <a:gd name="T15" fmla="*/ 108 h 156"/>
                <a:gd name="T16" fmla="*/ 185 w 342"/>
                <a:gd name="T17" fmla="*/ 61 h 156"/>
                <a:gd name="T18" fmla="*/ 89 w 342"/>
                <a:gd name="T19" fmla="*/ 0 h 156"/>
                <a:gd name="T20" fmla="*/ 0 w 342"/>
                <a:gd name="T21" fmla="*/ 150 h 156"/>
                <a:gd name="T22" fmla="*/ 48 w 342"/>
                <a:gd name="T23" fmla="*/ 150 h 156"/>
                <a:gd name="T24" fmla="*/ 89 w 342"/>
                <a:gd name="T25" fmla="*/ 4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2" h="156">
                  <a:moveTo>
                    <a:pt x="89" y="48"/>
                  </a:moveTo>
                  <a:cubicBezTo>
                    <a:pt x="110" y="48"/>
                    <a:pt x="128" y="69"/>
                    <a:pt x="148" y="93"/>
                  </a:cubicBezTo>
                  <a:cubicBezTo>
                    <a:pt x="173" y="122"/>
                    <a:pt x="202" y="156"/>
                    <a:pt x="249" y="156"/>
                  </a:cubicBezTo>
                  <a:cubicBezTo>
                    <a:pt x="269" y="156"/>
                    <a:pt x="287" y="149"/>
                    <a:pt x="302" y="134"/>
                  </a:cubicBezTo>
                  <a:cubicBezTo>
                    <a:pt x="341" y="95"/>
                    <a:pt x="342" y="15"/>
                    <a:pt x="342" y="6"/>
                  </a:cubicBezTo>
                  <a:cubicBezTo>
                    <a:pt x="294" y="6"/>
                    <a:pt x="294" y="6"/>
                    <a:pt x="294" y="6"/>
                  </a:cubicBezTo>
                  <a:cubicBezTo>
                    <a:pt x="294" y="23"/>
                    <a:pt x="289" y="79"/>
                    <a:pt x="268" y="100"/>
                  </a:cubicBezTo>
                  <a:cubicBezTo>
                    <a:pt x="262" y="106"/>
                    <a:pt x="256" y="108"/>
                    <a:pt x="249" y="108"/>
                  </a:cubicBezTo>
                  <a:cubicBezTo>
                    <a:pt x="224" y="108"/>
                    <a:pt x="206" y="87"/>
                    <a:pt x="185" y="61"/>
                  </a:cubicBezTo>
                  <a:cubicBezTo>
                    <a:pt x="160" y="33"/>
                    <a:pt x="133" y="0"/>
                    <a:pt x="89" y="0"/>
                  </a:cubicBezTo>
                  <a:cubicBezTo>
                    <a:pt x="19" y="0"/>
                    <a:pt x="0" y="94"/>
                    <a:pt x="0" y="150"/>
                  </a:cubicBezTo>
                  <a:cubicBezTo>
                    <a:pt x="48" y="150"/>
                    <a:pt x="48" y="150"/>
                    <a:pt x="48" y="150"/>
                  </a:cubicBezTo>
                  <a:cubicBezTo>
                    <a:pt x="48" y="118"/>
                    <a:pt x="58" y="48"/>
                    <a:pt x="8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2" name="Freeform 28">
              <a:extLst>
                <a:ext uri="{FF2B5EF4-FFF2-40B4-BE49-F238E27FC236}">
                  <a16:creationId xmlns:a16="http://schemas.microsoft.com/office/drawing/2014/main" id="{68098595-9BE5-4114-97BD-770DEEC61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60613" y="2211388"/>
              <a:ext cx="304800" cy="179388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7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3" name="Freeform 29">
              <a:extLst>
                <a:ext uri="{FF2B5EF4-FFF2-40B4-BE49-F238E27FC236}">
                  <a16:creationId xmlns:a16="http://schemas.microsoft.com/office/drawing/2014/main" id="{7D622441-A7F1-41F3-A7C9-648A3068B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6913" y="2211388"/>
              <a:ext cx="304800" cy="179388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37"/>
                    <a:pt x="10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7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4" name="Freeform 30">
              <a:extLst>
                <a:ext uri="{FF2B5EF4-FFF2-40B4-BE49-F238E27FC236}">
                  <a16:creationId xmlns:a16="http://schemas.microsoft.com/office/drawing/2014/main" id="{2417AF73-F809-41AA-8B8D-E4EA0BCC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60613" y="2574925"/>
              <a:ext cx="304800" cy="180975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8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5" name="Freeform 31">
              <a:extLst>
                <a:ext uri="{FF2B5EF4-FFF2-40B4-BE49-F238E27FC236}">
                  <a16:creationId xmlns:a16="http://schemas.microsoft.com/office/drawing/2014/main" id="{0E182064-FA82-4513-A93E-2DA8EEC73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6913" y="2574925"/>
              <a:ext cx="304800" cy="180975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38"/>
                    <a:pt x="10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8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6" name="Freeform 32">
              <a:extLst>
                <a:ext uri="{FF2B5EF4-FFF2-40B4-BE49-F238E27FC236}">
                  <a16:creationId xmlns:a16="http://schemas.microsoft.com/office/drawing/2014/main" id="{E95EFF79-8CFB-4EF6-B71B-880BA1CFF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4800" y="2211388"/>
              <a:ext cx="700088" cy="179388"/>
            </a:xfrm>
            <a:custGeom>
              <a:avLst/>
              <a:gdLst>
                <a:gd name="T0" fmla="*/ 162 w 186"/>
                <a:gd name="T1" fmla="*/ 0 h 48"/>
                <a:gd name="T2" fmla="*/ 24 w 186"/>
                <a:gd name="T3" fmla="*/ 0 h 48"/>
                <a:gd name="T4" fmla="*/ 0 w 186"/>
                <a:gd name="T5" fmla="*/ 24 h 48"/>
                <a:gd name="T6" fmla="*/ 24 w 186"/>
                <a:gd name="T7" fmla="*/ 48 h 48"/>
                <a:gd name="T8" fmla="*/ 162 w 186"/>
                <a:gd name="T9" fmla="*/ 48 h 48"/>
                <a:gd name="T10" fmla="*/ 186 w 186"/>
                <a:gd name="T11" fmla="*/ 24 h 48"/>
                <a:gd name="T12" fmla="*/ 162 w 186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48">
                  <a:moveTo>
                    <a:pt x="162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37"/>
                    <a:pt x="10" y="48"/>
                    <a:pt x="24" y="48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75" y="48"/>
                    <a:pt x="186" y="37"/>
                    <a:pt x="186" y="24"/>
                  </a:cubicBezTo>
                  <a:cubicBezTo>
                    <a:pt x="186" y="11"/>
                    <a:pt x="175" y="0"/>
                    <a:pt x="1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7" name="Freeform 33">
              <a:extLst>
                <a:ext uri="{FF2B5EF4-FFF2-40B4-BE49-F238E27FC236}">
                  <a16:creationId xmlns:a16="http://schemas.microsoft.com/office/drawing/2014/main" id="{35452E4D-DEC5-4568-979A-42BD3B017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4800" y="2574925"/>
              <a:ext cx="700088" cy="180975"/>
            </a:xfrm>
            <a:custGeom>
              <a:avLst/>
              <a:gdLst>
                <a:gd name="T0" fmla="*/ 162 w 186"/>
                <a:gd name="T1" fmla="*/ 0 h 48"/>
                <a:gd name="T2" fmla="*/ 24 w 186"/>
                <a:gd name="T3" fmla="*/ 0 h 48"/>
                <a:gd name="T4" fmla="*/ 0 w 186"/>
                <a:gd name="T5" fmla="*/ 24 h 48"/>
                <a:gd name="T6" fmla="*/ 24 w 186"/>
                <a:gd name="T7" fmla="*/ 48 h 48"/>
                <a:gd name="T8" fmla="*/ 162 w 186"/>
                <a:gd name="T9" fmla="*/ 48 h 48"/>
                <a:gd name="T10" fmla="*/ 186 w 186"/>
                <a:gd name="T11" fmla="*/ 24 h 48"/>
                <a:gd name="T12" fmla="*/ 162 w 186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48">
                  <a:moveTo>
                    <a:pt x="162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38"/>
                    <a:pt x="10" y="48"/>
                    <a:pt x="24" y="48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75" y="48"/>
                    <a:pt x="186" y="38"/>
                    <a:pt x="186" y="24"/>
                  </a:cubicBezTo>
                  <a:cubicBezTo>
                    <a:pt x="186" y="11"/>
                    <a:pt x="175" y="0"/>
                    <a:pt x="1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8" name="Freeform 34">
              <a:extLst>
                <a:ext uri="{FF2B5EF4-FFF2-40B4-BE49-F238E27FC236}">
                  <a16:creationId xmlns:a16="http://schemas.microsoft.com/office/drawing/2014/main" id="{720DA4A4-8358-4188-A4E9-111D08DE4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60613" y="2944813"/>
              <a:ext cx="304800" cy="179388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7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9" name="Freeform 35">
              <a:extLst>
                <a:ext uri="{FF2B5EF4-FFF2-40B4-BE49-F238E27FC236}">
                  <a16:creationId xmlns:a16="http://schemas.microsoft.com/office/drawing/2014/main" id="{ACBD98B0-EB82-4837-988C-B3354A420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6913" y="2944813"/>
              <a:ext cx="304800" cy="179388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37"/>
                    <a:pt x="10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7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10" name="Freeform 36">
              <a:extLst>
                <a:ext uri="{FF2B5EF4-FFF2-40B4-BE49-F238E27FC236}">
                  <a16:creationId xmlns:a16="http://schemas.microsoft.com/office/drawing/2014/main" id="{46EAFCBD-BC57-4106-912B-81A4C6B8D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360613" y="3308350"/>
              <a:ext cx="304800" cy="180975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8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11" name="Freeform 37">
              <a:extLst>
                <a:ext uri="{FF2B5EF4-FFF2-40B4-BE49-F238E27FC236}">
                  <a16:creationId xmlns:a16="http://schemas.microsoft.com/office/drawing/2014/main" id="{7D2A95EE-626F-47D6-8310-FC02FEF70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66913" y="3308350"/>
              <a:ext cx="304800" cy="180975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38"/>
                    <a:pt x="10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8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12" name="Freeform 38">
              <a:extLst>
                <a:ext uri="{FF2B5EF4-FFF2-40B4-BE49-F238E27FC236}">
                  <a16:creationId xmlns:a16="http://schemas.microsoft.com/office/drawing/2014/main" id="{23B4899D-BADB-4E12-A8FB-E6CA9011D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4800" y="2944813"/>
              <a:ext cx="304800" cy="179388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7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13" name="Freeform 39">
              <a:extLst>
                <a:ext uri="{FF2B5EF4-FFF2-40B4-BE49-F238E27FC236}">
                  <a16:creationId xmlns:a16="http://schemas.microsoft.com/office/drawing/2014/main" id="{BD5FA4C6-100A-4F28-93D0-58894AE9C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79513" y="2944813"/>
              <a:ext cx="304800" cy="179388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37"/>
                    <a:pt x="10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7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14" name="Freeform 40">
              <a:extLst>
                <a:ext uri="{FF2B5EF4-FFF2-40B4-BE49-F238E27FC236}">
                  <a16:creationId xmlns:a16="http://schemas.microsoft.com/office/drawing/2014/main" id="{AEC48ED0-4B04-4275-BA36-7C9863484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4800" y="3308350"/>
              <a:ext cx="304800" cy="180975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8"/>
                    <a:pt x="11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8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15" name="Freeform 41">
              <a:extLst>
                <a:ext uri="{FF2B5EF4-FFF2-40B4-BE49-F238E27FC236}">
                  <a16:creationId xmlns:a16="http://schemas.microsoft.com/office/drawing/2014/main" id="{E660C182-AFED-4F79-A7BB-4B559E95F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79513" y="3308350"/>
              <a:ext cx="304800" cy="180975"/>
            </a:xfrm>
            <a:custGeom>
              <a:avLst/>
              <a:gdLst>
                <a:gd name="T0" fmla="*/ 57 w 81"/>
                <a:gd name="T1" fmla="*/ 0 h 48"/>
                <a:gd name="T2" fmla="*/ 24 w 81"/>
                <a:gd name="T3" fmla="*/ 0 h 48"/>
                <a:gd name="T4" fmla="*/ 0 w 81"/>
                <a:gd name="T5" fmla="*/ 24 h 48"/>
                <a:gd name="T6" fmla="*/ 24 w 81"/>
                <a:gd name="T7" fmla="*/ 48 h 48"/>
                <a:gd name="T8" fmla="*/ 57 w 81"/>
                <a:gd name="T9" fmla="*/ 48 h 48"/>
                <a:gd name="T10" fmla="*/ 81 w 81"/>
                <a:gd name="T11" fmla="*/ 24 h 48"/>
                <a:gd name="T12" fmla="*/ 57 w 8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38"/>
                    <a:pt x="10" y="48"/>
                    <a:pt x="24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70" y="48"/>
                    <a:pt x="81" y="38"/>
                    <a:pt x="81" y="24"/>
                  </a:cubicBezTo>
                  <a:cubicBezTo>
                    <a:pt x="81" y="11"/>
                    <a:pt x="70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</p:spTree>
    <p:extLst>
      <p:ext uri="{BB962C8B-B14F-4D97-AF65-F5344CB8AC3E}">
        <p14:creationId xmlns:p14="http://schemas.microsoft.com/office/powerpoint/2010/main" val="3410337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EEB53A-EBD5-42A6-97FB-354157313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3" y="294469"/>
            <a:ext cx="11512897" cy="536804"/>
          </a:xfrm>
        </p:spPr>
        <p:txBody>
          <a:bodyPr/>
          <a:lstStyle/>
          <a:p>
            <a:r>
              <a:rPr lang="en-US" dirty="0"/>
              <a:t>How are Regulators and the Industry responding to the change 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8F0F1E-CC96-4DB9-A119-D8478E6D5D95}"/>
              </a:ext>
            </a:extLst>
          </p:cNvPr>
          <p:cNvSpPr/>
          <p:nvPr/>
        </p:nvSpPr>
        <p:spPr>
          <a:xfrm>
            <a:off x="253540" y="879709"/>
            <a:ext cx="11644051" cy="51574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59FF12B-4A7D-401F-B675-EF59DDBB217B}"/>
              </a:ext>
            </a:extLst>
          </p:cNvPr>
          <p:cNvSpPr/>
          <p:nvPr/>
        </p:nvSpPr>
        <p:spPr>
          <a:xfrm>
            <a:off x="384694" y="1007923"/>
            <a:ext cx="11338560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FDA is already making strides in publishing recommendations on the use of social media. FDA guidelines on social media usage</a:t>
            </a:r>
          </a:p>
          <a:p>
            <a:r>
              <a:rPr lang="en-US" sz="1600" dirty="0"/>
              <a:t>	</a:t>
            </a:r>
            <a:r>
              <a:rPr lang="en-US" sz="1600" u="sng" dirty="0">
                <a:hlinkClick r:id="rId2"/>
              </a:rPr>
              <a:t>https://www.fda.gov/media/94313/download</a:t>
            </a:r>
            <a:endParaRPr lang="en-US" sz="1600" u="sng" dirty="0"/>
          </a:p>
          <a:p>
            <a:pPr lvl="1"/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DA guidelines on patient reported outcomes </a:t>
            </a:r>
          </a:p>
          <a:p>
            <a:pPr lvl="2"/>
            <a:r>
              <a:rPr lang="en-US" sz="1600" u="sng" dirty="0">
                <a:hlinkClick r:id="rId3"/>
              </a:rPr>
              <a:t>https://www.fda.gov/regulatory-information/search-fda-guidance-documents/patient-reported-outcome-measures-use-medical-product-development-support-labeling-claims</a:t>
            </a:r>
            <a:endParaRPr lang="en-US" sz="1600" u="sng" dirty="0"/>
          </a:p>
          <a:p>
            <a:pPr lvl="2"/>
            <a:endParaRPr lang="en-US" sz="1600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anofi launches virtual trial with Science 37</a:t>
            </a:r>
          </a:p>
          <a:p>
            <a:pPr lvl="2"/>
            <a:r>
              <a:rPr lang="en-US" sz="1600" dirty="0">
                <a:hlinkClick r:id="rId4"/>
              </a:rPr>
              <a:t>https://www.fiercebiotech.com/cro/sanofi-launches-new-virtual-trials-offering-science-37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fizer conducts first virtual clinical trial</a:t>
            </a:r>
          </a:p>
          <a:p>
            <a:pPr lvl="2"/>
            <a:r>
              <a:rPr lang="en-US" sz="1600" dirty="0">
                <a:hlinkClick r:id="rId5"/>
              </a:rPr>
              <a:t>https://www.pfizer.com/news/press-release/press-release-detail/pfizer_conducts_first_virtual_clinical_trial_allowing_patients_to_participate_regardless_of_geography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/>
              <a:t>Many companies are jumping on the 140-character bandwagon, including </a:t>
            </a:r>
            <a:r>
              <a:rPr lang="en-US" sz="1600" dirty="0" err="1"/>
              <a:t>Abbvie</a:t>
            </a:r>
            <a:r>
              <a:rPr lang="en-US" sz="1600" dirty="0"/>
              <a:t> and Pfizer, making use of their Twitter accounts to engage patients and engage the clinical community. But moving beyond a simple Twitter feed into a comprehensive social media strategy to engage their target audience is something very few companies are doing well, if at all.</a:t>
            </a:r>
            <a:endParaRPr lang="en-US" sz="1600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113616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0E4604-4165-4C7C-998B-888A1CD4C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92" y="167169"/>
            <a:ext cx="11763911" cy="634214"/>
          </a:xfrm>
        </p:spPr>
        <p:txBody>
          <a:bodyPr/>
          <a:lstStyle/>
          <a:p>
            <a:r>
              <a:rPr lang="en-US" dirty="0"/>
              <a:t>What are the impacts on the India Skill Market </a:t>
            </a:r>
            <a:br>
              <a:rPr lang="en-US" dirty="0"/>
            </a:br>
            <a:r>
              <a:rPr lang="en-US" dirty="0"/>
              <a:t>and the next opportunities 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0B2E39-BE6B-4F22-98EF-69B629DFAAF3}"/>
              </a:ext>
            </a:extLst>
          </p:cNvPr>
          <p:cNvSpPr/>
          <p:nvPr/>
        </p:nvSpPr>
        <p:spPr>
          <a:xfrm>
            <a:off x="457199" y="732235"/>
            <a:ext cx="11553825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Increased offshoring to India across the value chain of Clinical Drug Develop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363636"/>
              </a:solidFill>
              <a:latin typeface="itcfranklingothicstd-book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Quick expansion of number of CROs/Pharma Captive Centers in India and CRO headcount numbers in Ind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363636"/>
              </a:solidFill>
              <a:latin typeface="itcfranklingothicstd-book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Domain skills require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B Phar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M Phar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MBB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M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PHDs in Clinical Biostatisti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PHD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Masters in Public Health (MPH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Masters in Computer Applications(MCAs/MS Comp Scienc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BE/B Tech in Computer Science</a:t>
            </a:r>
          </a:p>
          <a:p>
            <a:pPr lvl="1"/>
            <a:endParaRPr lang="en-US" dirty="0">
              <a:solidFill>
                <a:srgbClr val="363636"/>
              </a:solidFill>
              <a:latin typeface="itcfranklingothicstd-book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Increased leverage of the technology skills available across India to bring efficiency, automation &amp; insights to the drug development proce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Study Programm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Statistical Programm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AI/ML skills for Predictive Analyti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Big data and clou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63636"/>
                </a:solidFill>
                <a:latin typeface="itcfranklingothicstd-book"/>
              </a:rPr>
              <a:t>Device integration (wearables/embedded apps)</a:t>
            </a:r>
          </a:p>
        </p:txBody>
      </p:sp>
    </p:spTree>
    <p:extLst>
      <p:ext uri="{BB962C8B-B14F-4D97-AF65-F5344CB8AC3E}">
        <p14:creationId xmlns:p14="http://schemas.microsoft.com/office/powerpoint/2010/main" val="420366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89F2A1-CAEE-4FF6-99F7-F7DED45BE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132054"/>
            <a:ext cx="11338560" cy="5508457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22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Y9tUBkQCSaN2YZ7zynLA"/>
</p:tagLst>
</file>

<file path=ppt/theme/theme1.xml><?xml version="1.0" encoding="utf-8"?>
<a:theme xmlns:a="http://schemas.openxmlformats.org/drawingml/2006/main" name="IQVIA_V2.0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 Institute PowerPoint Template-v2.0.1.potx" id="{638123C5-577D-4406-B527-D8F890DFF2EA}" vid="{14770E37-B516-4023-8AB8-5A650425DE78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1EA2E138E1EF4DB45F18128EF73976" ma:contentTypeVersion="10" ma:contentTypeDescription="Create a new document." ma:contentTypeScope="" ma:versionID="568d2499f9106d418ac12a3a68e04991">
  <xsd:schema xmlns:xsd="http://www.w3.org/2001/XMLSchema" xmlns:xs="http://www.w3.org/2001/XMLSchema" xmlns:p="http://schemas.microsoft.com/office/2006/metadata/properties" xmlns:ns3="6d678e90-bc2f-4dfc-9079-468db0ee7392" targetNamespace="http://schemas.microsoft.com/office/2006/metadata/properties" ma:root="true" ma:fieldsID="27aeb2de5dffe66f1a6c9658feb0176c" ns3:_="">
    <xsd:import namespace="6d678e90-bc2f-4dfc-9079-468db0ee73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678e90-bc2f-4dfc-9079-468db0ee73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F63B50-09A9-4A95-BDA7-C43BF59889A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0E61F7-4F37-4AC9-9B0D-F8755115A68D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6d678e90-bc2f-4dfc-9079-468db0ee7392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5065474-DEB2-44BE-B0D0-962280F9AF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678e90-bc2f-4dfc-9079-468db0ee73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26</TotalTime>
  <Words>641</Words>
  <Application>Microsoft Office PowerPoint</Application>
  <PresentationFormat>Widescreen</PresentationFormat>
  <Paragraphs>159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Arial Narrow</vt:lpstr>
      <vt:lpstr>Courier New</vt:lpstr>
      <vt:lpstr>Georgia</vt:lpstr>
      <vt:lpstr>itcfranklingothicstd-book</vt:lpstr>
      <vt:lpstr>System Font Regular</vt:lpstr>
      <vt:lpstr>Wingdings</vt:lpstr>
      <vt:lpstr>IQVIA_V2.0.0</vt:lpstr>
      <vt:lpstr>think-cell Slide</vt:lpstr>
      <vt:lpstr>Technologies in Clinical Development – Next Opportunities</vt:lpstr>
      <vt:lpstr>Technologies in Clinical Development – Next Opportunities</vt:lpstr>
      <vt:lpstr>What are the challenges in pharma Clinical Development?</vt:lpstr>
      <vt:lpstr>How is the clinical development world changing?</vt:lpstr>
      <vt:lpstr>How is technology transforming the clinical development world?</vt:lpstr>
      <vt:lpstr>How is technology transforming the clinical development world?</vt:lpstr>
      <vt:lpstr>How are Regulators and the Industry responding to the change ?</vt:lpstr>
      <vt:lpstr>What are the impacts on the India Skill Market  and the next opportunities ?</vt:lpstr>
      <vt:lpstr>Thank You 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AC Hub Progress Update</dc:title>
  <dc:creator>Tripathy, Anita</dc:creator>
  <cp:lastModifiedBy>Tripathy, Anita</cp:lastModifiedBy>
  <cp:revision>16</cp:revision>
  <dcterms:created xsi:type="dcterms:W3CDTF">2020-09-01T13:00:51Z</dcterms:created>
  <dcterms:modified xsi:type="dcterms:W3CDTF">2020-12-03T16:3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1EA2E138E1EF4DB45F18128EF73976</vt:lpwstr>
  </property>
</Properties>
</file>